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1"/>
  </p:notesMasterIdLst>
  <p:sldIdLst>
    <p:sldId id="256" r:id="rId5"/>
    <p:sldId id="257" r:id="rId6"/>
    <p:sldId id="2698" r:id="rId7"/>
    <p:sldId id="2699" r:id="rId8"/>
    <p:sldId id="2700" r:id="rId9"/>
    <p:sldId id="2702" r:id="rId10"/>
    <p:sldId id="2701" r:id="rId11"/>
    <p:sldId id="2703" r:id="rId12"/>
    <p:sldId id="2704" r:id="rId13"/>
    <p:sldId id="2705" r:id="rId14"/>
    <p:sldId id="2706" r:id="rId15"/>
    <p:sldId id="2707" r:id="rId16"/>
    <p:sldId id="2708" r:id="rId17"/>
    <p:sldId id="2709" r:id="rId18"/>
    <p:sldId id="2710" r:id="rId19"/>
    <p:sldId id="2711" r:id="rId20"/>
    <p:sldId id="2712" r:id="rId21"/>
    <p:sldId id="2713" r:id="rId22"/>
    <p:sldId id="2714" r:id="rId23"/>
    <p:sldId id="2715" r:id="rId24"/>
    <p:sldId id="2716" r:id="rId25"/>
    <p:sldId id="2717" r:id="rId26"/>
    <p:sldId id="2718" r:id="rId27"/>
    <p:sldId id="2719" r:id="rId28"/>
    <p:sldId id="2720" r:id="rId29"/>
    <p:sldId id="2721" r:id="rId30"/>
    <p:sldId id="2722" r:id="rId31"/>
    <p:sldId id="2723" r:id="rId32"/>
    <p:sldId id="2724" r:id="rId33"/>
    <p:sldId id="2725" r:id="rId34"/>
    <p:sldId id="2726" r:id="rId35"/>
    <p:sldId id="2727" r:id="rId36"/>
    <p:sldId id="2728" r:id="rId37"/>
    <p:sldId id="272" r:id="rId38"/>
    <p:sldId id="274" r:id="rId39"/>
    <p:sldId id="273" r:id="rId40"/>
  </p:sldIdLst>
  <p:sldSz cx="12192000" cy="6858000"/>
  <p:notesSz cx="6858000" cy="9144000"/>
  <p:custDataLst>
    <p:tags r:id="rId42"/>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765u1TMIi3LKy+k5jiA/lA==" hashData="NC1w57lu9MoI+oAkxm1PxpOO69S0AgXQQNeRSP3iB239HFapGUdUTEvOrc11xxX7r3d/+Pt7WLD4jofQBRGn1g=="/>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B14"/>
    <a:srgbClr val="0FC044"/>
    <a:srgbClr val="7DFF46"/>
    <a:srgbClr val="EBE9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38"/>
    <p:restoredTop sz="94724" autoAdjust="0"/>
  </p:normalViewPr>
  <p:slideViewPr>
    <p:cSldViewPr snapToGrid="0" snapToObjects="1">
      <p:cViewPr varScale="1">
        <p:scale>
          <a:sx n="106" d="100"/>
          <a:sy n="106" d="100"/>
        </p:scale>
        <p:origin x="59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son Concha, Luis Enrique" userId="24a26401-76f9-4f62-bb1e-7d6980a282dd" providerId="ADAL" clId="{8E78D5C7-540C-4C79-A382-5D3B51477800}"/>
    <pc:docChg chg="undo custSel addSld delSld modSld sldOrd replTag delTag">
      <pc:chgData name="Richardson Concha, Luis Enrique" userId="24a26401-76f9-4f62-bb1e-7d6980a282dd" providerId="ADAL" clId="{8E78D5C7-540C-4C79-A382-5D3B51477800}" dt="2024-06-06T21:20:39.971" v="3021" actId="20577"/>
      <pc:docMkLst>
        <pc:docMk/>
      </pc:docMkLst>
      <pc:sldChg chg="addSp delSp modSp mod replTag delTag">
        <pc:chgData name="Richardson Concha, Luis Enrique" userId="24a26401-76f9-4f62-bb1e-7d6980a282dd" providerId="ADAL" clId="{8E78D5C7-540C-4C79-A382-5D3B51477800}" dt="2024-06-06T21:16:03.237" v="2961"/>
        <pc:sldMkLst>
          <pc:docMk/>
          <pc:sldMk cId="2989611669" sldId="256"/>
        </pc:sldMkLst>
        <pc:spChg chg="mod ord">
          <ac:chgData name="Richardson Concha, Luis Enrique" userId="24a26401-76f9-4f62-bb1e-7d6980a282dd" providerId="ADAL" clId="{8E78D5C7-540C-4C79-A382-5D3B51477800}" dt="2024-06-05T20:09:06.771" v="41"/>
          <ac:spMkLst>
            <pc:docMk/>
            <pc:sldMk cId="2989611669" sldId="256"/>
            <ac:spMk id="4" creationId="{8E102811-4AA1-1D45-A94D-ABC3DAF55731}"/>
          </ac:spMkLst>
        </pc:spChg>
        <pc:spChg chg="mod ord">
          <ac:chgData name="Richardson Concha, Luis Enrique" userId="24a26401-76f9-4f62-bb1e-7d6980a282dd" providerId="ADAL" clId="{8E78D5C7-540C-4C79-A382-5D3B51477800}" dt="2024-06-05T20:15:08.573" v="74" actId="20577"/>
          <ac:spMkLst>
            <pc:docMk/>
            <pc:sldMk cId="2989611669" sldId="256"/>
            <ac:spMk id="6" creationId="{A412EC63-7B19-9143-8828-5510B74BCE97}"/>
          </ac:spMkLst>
        </pc:spChg>
        <pc:graphicFrameChg chg="mod">
          <ac:chgData name="Richardson Concha, Luis Enrique" userId="24a26401-76f9-4f62-bb1e-7d6980a282dd" providerId="ADAL" clId="{8E78D5C7-540C-4C79-A382-5D3B51477800}" dt="2024-06-05T20:09:06.784" v="49"/>
          <ac:graphicFrameMkLst>
            <pc:docMk/>
            <pc:sldMk cId="2989611669" sldId="256"/>
            <ac:graphicFrameMk id="3" creationId="{03C2254C-7F64-A57C-595C-D9FC658AC1CE}"/>
          </ac:graphicFrameMkLst>
        </pc:graphicFrameChg>
        <pc:picChg chg="mod ord">
          <ac:chgData name="Richardson Concha, Luis Enrique" userId="24a26401-76f9-4f62-bb1e-7d6980a282dd" providerId="ADAL" clId="{8E78D5C7-540C-4C79-A382-5D3B51477800}" dt="2024-06-05T20:09:06.772" v="43"/>
          <ac:picMkLst>
            <pc:docMk/>
            <pc:sldMk cId="2989611669" sldId="256"/>
            <ac:picMk id="5" creationId="{2BAFCD49-1BAE-1A4E-B050-5EAAA35829C5}"/>
          </ac:picMkLst>
        </pc:picChg>
        <pc:picChg chg="del mod ord">
          <ac:chgData name="Richardson Concha, Luis Enrique" userId="24a26401-76f9-4f62-bb1e-7d6980a282dd" providerId="ADAL" clId="{8E78D5C7-540C-4C79-A382-5D3B51477800}" dt="2024-06-05T20:09:08.178" v="50" actId="478"/>
          <ac:picMkLst>
            <pc:docMk/>
            <pc:sldMk cId="2989611669" sldId="256"/>
            <ac:picMk id="7" creationId="{00000000-0000-0000-0000-000000000000}"/>
          </ac:picMkLst>
        </pc:picChg>
        <pc:picChg chg="add mod ord modCrop">
          <ac:chgData name="Richardson Concha, Luis Enrique" userId="24a26401-76f9-4f62-bb1e-7d6980a282dd" providerId="ADAL" clId="{8E78D5C7-540C-4C79-A382-5D3B51477800}" dt="2024-06-05T20:09:06.770" v="37"/>
          <ac:picMkLst>
            <pc:docMk/>
            <pc:sldMk cId="2989611669" sldId="256"/>
            <ac:picMk id="8" creationId="{3416915C-DB1E-32EB-3CE1-45657278A001}"/>
          </ac:picMkLst>
        </pc:picChg>
      </pc:sldChg>
      <pc:sldChg chg="modSp mod replTag delTag">
        <pc:chgData name="Richardson Concha, Luis Enrique" userId="24a26401-76f9-4f62-bb1e-7d6980a282dd" providerId="ADAL" clId="{8E78D5C7-540C-4C79-A382-5D3B51477800}" dt="2024-06-06T18:49:50.266" v="2945"/>
        <pc:sldMkLst>
          <pc:docMk/>
          <pc:sldMk cId="1483252922" sldId="257"/>
        </pc:sldMkLst>
        <pc:spChg chg="mod">
          <ac:chgData name="Richardson Concha, Luis Enrique" userId="24a26401-76f9-4f62-bb1e-7d6980a282dd" providerId="ADAL" clId="{8E78D5C7-540C-4C79-A382-5D3B51477800}" dt="2024-06-06T14:23:38.524" v="1426" actId="6549"/>
          <ac:spMkLst>
            <pc:docMk/>
            <pc:sldMk cId="1483252922" sldId="257"/>
            <ac:spMk id="8" creationId="{446335A6-EAD4-0247-9833-6E25C18FE4CB}"/>
          </ac:spMkLst>
        </pc:spChg>
      </pc:sldChg>
      <pc:sldChg chg="replTag delTag">
        <pc:chgData name="Richardson Concha, Luis Enrique" userId="24a26401-76f9-4f62-bb1e-7d6980a282dd" providerId="ADAL" clId="{8E78D5C7-540C-4C79-A382-5D3B51477800}" dt="2024-06-06T18:48:37.206" v="2877"/>
        <pc:sldMkLst>
          <pc:docMk/>
          <pc:sldMk cId="3858523066" sldId="272"/>
        </pc:sldMkLst>
      </pc:sldChg>
      <pc:sldChg chg="replTag delTag">
        <pc:chgData name="Richardson Concha, Luis Enrique" userId="24a26401-76f9-4f62-bb1e-7d6980a282dd" providerId="ADAL" clId="{8E78D5C7-540C-4C79-A382-5D3B51477800}" dt="2024-06-06T14:54:52.595" v="1763"/>
        <pc:sldMkLst>
          <pc:docMk/>
          <pc:sldMk cId="1458797933" sldId="274"/>
        </pc:sldMkLst>
      </pc:sldChg>
      <pc:sldChg chg="addSp delSp modSp mod replTag delTag">
        <pc:chgData name="Richardson Concha, Luis Enrique" userId="24a26401-76f9-4f62-bb1e-7d6980a282dd" providerId="ADAL" clId="{8E78D5C7-540C-4C79-A382-5D3B51477800}" dt="2024-06-06T18:49:50.691" v="2947"/>
        <pc:sldMkLst>
          <pc:docMk/>
          <pc:sldMk cId="4017552152" sldId="2698"/>
        </pc:sldMkLst>
        <pc:spChg chg="mod ord">
          <ac:chgData name="Richardson Concha, Luis Enrique" userId="24a26401-76f9-4f62-bb1e-7d6980a282dd" providerId="ADAL" clId="{8E78D5C7-540C-4C79-A382-5D3B51477800}" dt="2024-06-06T15:54:31.907" v="1855"/>
          <ac:spMkLst>
            <pc:docMk/>
            <pc:sldMk cId="4017552152" sldId="2698"/>
            <ac:spMk id="4" creationId="{00000000-0000-0000-0000-000000000000}"/>
          </ac:spMkLst>
        </pc:spChg>
        <pc:spChg chg="mod ord">
          <ac:chgData name="Richardson Concha, Luis Enrique" userId="24a26401-76f9-4f62-bb1e-7d6980a282dd" providerId="ADAL" clId="{8E78D5C7-540C-4C79-A382-5D3B51477800}" dt="2024-06-06T15:54:31.906" v="1851"/>
          <ac:spMkLst>
            <pc:docMk/>
            <pc:sldMk cId="4017552152" sldId="2698"/>
            <ac:spMk id="17" creationId="{BFBD94C6-FF5E-924E-A4E6-F9CEF0E1FFE5}"/>
          </ac:spMkLst>
        </pc:spChg>
        <pc:spChg chg="mod ord">
          <ac:chgData name="Richardson Concha, Luis Enrique" userId="24a26401-76f9-4f62-bb1e-7d6980a282dd" providerId="ADAL" clId="{8E78D5C7-540C-4C79-A382-5D3B51477800}" dt="2024-06-06T15:54:31.906" v="1849"/>
          <ac:spMkLst>
            <pc:docMk/>
            <pc:sldMk cId="4017552152" sldId="2698"/>
            <ac:spMk id="36" creationId="{F9506A3C-ED6C-864E-946A-28D52CFBE7C1}"/>
          </ac:spMkLst>
        </pc:spChg>
        <pc:graphicFrameChg chg="mod">
          <ac:chgData name="Richardson Concha, Luis Enrique" userId="24a26401-76f9-4f62-bb1e-7d6980a282dd" providerId="ADAL" clId="{8E78D5C7-540C-4C79-A382-5D3B51477800}" dt="2024-06-06T15:54:31.918" v="1859"/>
          <ac:graphicFrameMkLst>
            <pc:docMk/>
            <pc:sldMk cId="4017552152" sldId="2698"/>
            <ac:graphicFrameMk id="6" creationId="{7916D848-0D74-682B-2059-D4867C0BDEEE}"/>
          </ac:graphicFrameMkLst>
        </pc:graphicFrameChg>
        <pc:picChg chg="mod ord">
          <ac:chgData name="Richardson Concha, Luis Enrique" userId="24a26401-76f9-4f62-bb1e-7d6980a282dd" providerId="ADAL" clId="{8E78D5C7-540C-4C79-A382-5D3B51477800}" dt="2024-06-06T15:54:31.907" v="1853"/>
          <ac:picMkLst>
            <pc:docMk/>
            <pc:sldMk cId="4017552152" sldId="2698"/>
            <ac:picMk id="3" creationId="{E326459A-0391-08B7-78AF-F69E865FCF45}"/>
          </ac:picMkLst>
        </pc:picChg>
        <pc:picChg chg="del mod ord">
          <ac:chgData name="Richardson Concha, Luis Enrique" userId="24a26401-76f9-4f62-bb1e-7d6980a282dd" providerId="ADAL" clId="{8E78D5C7-540C-4C79-A382-5D3B51477800}" dt="2024-06-06T15:54:33.217" v="1860" actId="478"/>
          <ac:picMkLst>
            <pc:docMk/>
            <pc:sldMk cId="4017552152" sldId="2698"/>
            <ac:picMk id="5" creationId="{00000000-0000-0000-0000-000000000000}"/>
          </ac:picMkLst>
        </pc:picChg>
        <pc:picChg chg="add mod ord modCrop">
          <ac:chgData name="Richardson Concha, Luis Enrique" userId="24a26401-76f9-4f62-bb1e-7d6980a282dd" providerId="ADAL" clId="{8E78D5C7-540C-4C79-A382-5D3B51477800}" dt="2024-06-06T15:54:31.904" v="1845"/>
          <ac:picMkLst>
            <pc:docMk/>
            <pc:sldMk cId="4017552152" sldId="2698"/>
            <ac:picMk id="7" creationId="{FF069134-B192-2B2B-7C8A-08E6173506A4}"/>
          </ac:picMkLst>
        </pc:picChg>
      </pc:sldChg>
      <pc:sldChg chg="addSp delSp modSp mod replTag delTag">
        <pc:chgData name="Richardson Concha, Luis Enrique" userId="24a26401-76f9-4f62-bb1e-7d6980a282dd" providerId="ADAL" clId="{8E78D5C7-540C-4C79-A382-5D3B51477800}" dt="2024-06-06T21:16:07.340" v="2965"/>
        <pc:sldMkLst>
          <pc:docMk/>
          <pc:sldMk cId="1544331097" sldId="2699"/>
        </pc:sldMkLst>
        <pc:spChg chg="mod ord">
          <ac:chgData name="Richardson Concha, Luis Enrique" userId="24a26401-76f9-4f62-bb1e-7d6980a282dd" providerId="ADAL" clId="{8E78D5C7-540C-4C79-A382-5D3B51477800}" dt="2024-06-06T16:26:58.881" v="1929"/>
          <ac:spMkLst>
            <pc:docMk/>
            <pc:sldMk cId="1544331097" sldId="2699"/>
            <ac:spMk id="17" creationId="{BFBD94C6-FF5E-924E-A4E6-F9CEF0E1FFE5}"/>
          </ac:spMkLst>
        </pc:spChg>
        <pc:spChg chg="mod ord">
          <ac:chgData name="Richardson Concha, Luis Enrique" userId="24a26401-76f9-4f62-bb1e-7d6980a282dd" providerId="ADAL" clId="{8E78D5C7-540C-4C79-A382-5D3B51477800}" dt="2024-06-06T16:26:58.881" v="1927"/>
          <ac:spMkLst>
            <pc:docMk/>
            <pc:sldMk cId="1544331097" sldId="2699"/>
            <ac:spMk id="36" creationId="{F9506A3C-ED6C-864E-946A-28D52CFBE7C1}"/>
          </ac:spMkLst>
        </pc:spChg>
        <pc:graphicFrameChg chg="mod">
          <ac:chgData name="Richardson Concha, Luis Enrique" userId="24a26401-76f9-4f62-bb1e-7d6980a282dd" providerId="ADAL" clId="{8E78D5C7-540C-4C79-A382-5D3B51477800}" dt="2024-06-06T16:26:58.891" v="1935"/>
          <ac:graphicFrameMkLst>
            <pc:docMk/>
            <pc:sldMk cId="1544331097" sldId="2699"/>
            <ac:graphicFrameMk id="6" creationId="{7916D848-0D74-682B-2059-D4867C0BDEEE}"/>
          </ac:graphicFrameMkLst>
        </pc:graphicFrameChg>
        <pc:picChg chg="mod ord">
          <ac:chgData name="Richardson Concha, Luis Enrique" userId="24a26401-76f9-4f62-bb1e-7d6980a282dd" providerId="ADAL" clId="{8E78D5C7-540C-4C79-A382-5D3B51477800}" dt="2024-06-06T16:26:58.882" v="1931"/>
          <ac:picMkLst>
            <pc:docMk/>
            <pc:sldMk cId="1544331097" sldId="2699"/>
            <ac:picMk id="3" creationId="{E326459A-0391-08B7-78AF-F69E865FCF45}"/>
          </ac:picMkLst>
        </pc:picChg>
        <pc:picChg chg="add mod ord modCrop">
          <ac:chgData name="Richardson Concha, Luis Enrique" userId="24a26401-76f9-4f62-bb1e-7d6980a282dd" providerId="ADAL" clId="{8E78D5C7-540C-4C79-A382-5D3B51477800}" dt="2024-06-06T16:26:58.880" v="1923"/>
          <ac:picMkLst>
            <pc:docMk/>
            <pc:sldMk cId="1544331097" sldId="2699"/>
            <ac:picMk id="4" creationId="{EC419176-E53B-9102-930A-92F2A04C4E30}"/>
          </ac:picMkLst>
        </pc:picChg>
        <pc:picChg chg="del mod ord">
          <ac:chgData name="Richardson Concha, Luis Enrique" userId="24a26401-76f9-4f62-bb1e-7d6980a282dd" providerId="ADAL" clId="{8E78D5C7-540C-4C79-A382-5D3B51477800}" dt="2024-06-06T16:27:00.154" v="1936" actId="478"/>
          <ac:picMkLst>
            <pc:docMk/>
            <pc:sldMk cId="1544331097" sldId="2699"/>
            <ac:picMk id="5" creationId="{00000000-0000-0000-0000-000000000000}"/>
          </ac:picMkLst>
        </pc:picChg>
      </pc:sldChg>
      <pc:sldChg chg="del replTag delTag">
        <pc:chgData name="Richardson Concha, Luis Enrique" userId="24a26401-76f9-4f62-bb1e-7d6980a282dd" providerId="ADAL" clId="{8E78D5C7-540C-4C79-A382-5D3B51477800}" dt="2024-06-05T20:28:28.421" v="207" actId="47"/>
        <pc:sldMkLst>
          <pc:docMk/>
          <pc:sldMk cId="1779423148" sldId="2700"/>
        </pc:sldMkLst>
      </pc:sldChg>
      <pc:sldChg chg="addSp delSp modSp add mod replTag delTag modNotesTx">
        <pc:chgData name="Richardson Concha, Luis Enrique" userId="24a26401-76f9-4f62-bb1e-7d6980a282dd" providerId="ADAL" clId="{8E78D5C7-540C-4C79-A382-5D3B51477800}" dt="2024-06-06T21:16:43.610" v="2967"/>
        <pc:sldMkLst>
          <pc:docMk/>
          <pc:sldMk cId="2002247355" sldId="2700"/>
        </pc:sldMkLst>
        <pc:spChg chg="mod ord">
          <ac:chgData name="Richardson Concha, Luis Enrique" userId="24a26401-76f9-4f62-bb1e-7d6980a282dd" providerId="ADAL" clId="{8E78D5C7-540C-4C79-A382-5D3B51477800}" dt="2024-06-06T16:31:05.641" v="1964"/>
          <ac:spMkLst>
            <pc:docMk/>
            <pc:sldMk cId="2002247355" sldId="2700"/>
            <ac:spMk id="17" creationId="{BFBD94C6-FF5E-924E-A4E6-F9CEF0E1FFE5}"/>
          </ac:spMkLst>
        </pc:spChg>
        <pc:spChg chg="mod ord">
          <ac:chgData name="Richardson Concha, Luis Enrique" userId="24a26401-76f9-4f62-bb1e-7d6980a282dd" providerId="ADAL" clId="{8E78D5C7-540C-4C79-A382-5D3B51477800}" dt="2024-06-06T16:31:05.640" v="1962"/>
          <ac:spMkLst>
            <pc:docMk/>
            <pc:sldMk cId="2002247355" sldId="2700"/>
            <ac:spMk id="36" creationId="{F9506A3C-ED6C-864E-946A-28D52CFBE7C1}"/>
          </ac:spMkLst>
        </pc:spChg>
        <pc:graphicFrameChg chg="mod">
          <ac:chgData name="Richardson Concha, Luis Enrique" userId="24a26401-76f9-4f62-bb1e-7d6980a282dd" providerId="ADAL" clId="{8E78D5C7-540C-4C79-A382-5D3B51477800}" dt="2024-06-06T16:31:05.645" v="1970"/>
          <ac:graphicFrameMkLst>
            <pc:docMk/>
            <pc:sldMk cId="2002247355" sldId="2700"/>
            <ac:graphicFrameMk id="6" creationId="{7916D848-0D74-682B-2059-D4867C0BDEEE}"/>
          </ac:graphicFrameMkLst>
        </pc:graphicFrameChg>
        <pc:picChg chg="mod ord">
          <ac:chgData name="Richardson Concha, Luis Enrique" userId="24a26401-76f9-4f62-bb1e-7d6980a282dd" providerId="ADAL" clId="{8E78D5C7-540C-4C79-A382-5D3B51477800}" dt="2024-06-06T16:31:05.641" v="1966"/>
          <ac:picMkLst>
            <pc:docMk/>
            <pc:sldMk cId="2002247355" sldId="2700"/>
            <ac:picMk id="3" creationId="{E326459A-0391-08B7-78AF-F69E865FCF45}"/>
          </ac:picMkLst>
        </pc:picChg>
        <pc:picChg chg="add del mod">
          <ac:chgData name="Richardson Concha, Luis Enrique" userId="24a26401-76f9-4f62-bb1e-7d6980a282dd" providerId="ADAL" clId="{8E78D5C7-540C-4C79-A382-5D3B51477800}" dt="2024-06-06T16:30:20.699" v="1950" actId="478"/>
          <ac:picMkLst>
            <pc:docMk/>
            <pc:sldMk cId="2002247355" sldId="2700"/>
            <ac:picMk id="4" creationId="{162F6377-2DA2-8C45-6EF2-EC6B2B0998CE}"/>
          </ac:picMkLst>
        </pc:picChg>
        <pc:picChg chg="del mod ord">
          <ac:chgData name="Richardson Concha, Luis Enrique" userId="24a26401-76f9-4f62-bb1e-7d6980a282dd" providerId="ADAL" clId="{8E78D5C7-540C-4C79-A382-5D3B51477800}" dt="2024-06-06T16:31:08.043" v="1971" actId="478"/>
          <ac:picMkLst>
            <pc:docMk/>
            <pc:sldMk cId="2002247355" sldId="2700"/>
            <ac:picMk id="5" creationId="{00000000-0000-0000-0000-000000000000}"/>
          </ac:picMkLst>
        </pc:picChg>
        <pc:picChg chg="add mod ord modCrop">
          <ac:chgData name="Richardson Concha, Luis Enrique" userId="24a26401-76f9-4f62-bb1e-7d6980a282dd" providerId="ADAL" clId="{8E78D5C7-540C-4C79-A382-5D3B51477800}" dt="2024-06-06T16:31:11.635" v="1972" actId="14100"/>
          <ac:picMkLst>
            <pc:docMk/>
            <pc:sldMk cId="2002247355" sldId="2700"/>
            <ac:picMk id="8" creationId="{014EA13B-0F60-E705-83C0-6A21A6941313}"/>
          </ac:picMkLst>
        </pc:picChg>
      </pc:sldChg>
      <pc:sldChg chg="addSp delSp modSp add mod ord replTag delTag">
        <pc:chgData name="Richardson Concha, Luis Enrique" userId="24a26401-76f9-4f62-bb1e-7d6980a282dd" providerId="ADAL" clId="{8E78D5C7-540C-4C79-A382-5D3B51477800}" dt="2024-06-06T21:16:46.681" v="2973"/>
        <pc:sldMkLst>
          <pc:docMk/>
          <pc:sldMk cId="3060313290" sldId="2701"/>
        </pc:sldMkLst>
        <pc:spChg chg="mod ord">
          <ac:chgData name="Richardson Concha, Luis Enrique" userId="24a26401-76f9-4f62-bb1e-7d6980a282dd" providerId="ADAL" clId="{8E78D5C7-540C-4C79-A382-5D3B51477800}" dt="2024-06-06T16:33:49.960" v="2018"/>
          <ac:spMkLst>
            <pc:docMk/>
            <pc:sldMk cId="3060313290" sldId="2701"/>
            <ac:spMk id="17" creationId="{BFBD94C6-FF5E-924E-A4E6-F9CEF0E1FFE5}"/>
          </ac:spMkLst>
        </pc:spChg>
        <pc:spChg chg="mod ord">
          <ac:chgData name="Richardson Concha, Luis Enrique" userId="24a26401-76f9-4f62-bb1e-7d6980a282dd" providerId="ADAL" clId="{8E78D5C7-540C-4C79-A382-5D3B51477800}" dt="2024-06-06T16:33:49.960" v="2016"/>
          <ac:spMkLst>
            <pc:docMk/>
            <pc:sldMk cId="3060313290" sldId="2701"/>
            <ac:spMk id="36" creationId="{F9506A3C-ED6C-864E-946A-28D52CFBE7C1}"/>
          </ac:spMkLst>
        </pc:spChg>
        <pc:graphicFrameChg chg="mod">
          <ac:chgData name="Richardson Concha, Luis Enrique" userId="24a26401-76f9-4f62-bb1e-7d6980a282dd" providerId="ADAL" clId="{8E78D5C7-540C-4C79-A382-5D3B51477800}" dt="2024-06-06T16:33:49.963" v="2024"/>
          <ac:graphicFrameMkLst>
            <pc:docMk/>
            <pc:sldMk cId="3060313290" sldId="2701"/>
            <ac:graphicFrameMk id="6" creationId="{7916D848-0D74-682B-2059-D4867C0BDEEE}"/>
          </ac:graphicFrameMkLst>
        </pc:graphicFrameChg>
        <pc:picChg chg="mod ord">
          <ac:chgData name="Richardson Concha, Luis Enrique" userId="24a26401-76f9-4f62-bb1e-7d6980a282dd" providerId="ADAL" clId="{8E78D5C7-540C-4C79-A382-5D3B51477800}" dt="2024-06-06T16:33:49.961" v="2020"/>
          <ac:picMkLst>
            <pc:docMk/>
            <pc:sldMk cId="3060313290" sldId="2701"/>
            <ac:picMk id="3" creationId="{E326459A-0391-08B7-78AF-F69E865FCF45}"/>
          </ac:picMkLst>
        </pc:picChg>
        <pc:picChg chg="add del mod">
          <ac:chgData name="Richardson Concha, Luis Enrique" userId="24a26401-76f9-4f62-bb1e-7d6980a282dd" providerId="ADAL" clId="{8E78D5C7-540C-4C79-A382-5D3B51477800}" dt="2024-06-06T16:33:25.259" v="2005" actId="478"/>
          <ac:picMkLst>
            <pc:docMk/>
            <pc:sldMk cId="3060313290" sldId="2701"/>
            <ac:picMk id="4" creationId="{CA6D197D-E66A-DD62-B837-B09E4D853C49}"/>
          </ac:picMkLst>
        </pc:picChg>
        <pc:picChg chg="del mod ord">
          <ac:chgData name="Richardson Concha, Luis Enrique" userId="24a26401-76f9-4f62-bb1e-7d6980a282dd" providerId="ADAL" clId="{8E78D5C7-540C-4C79-A382-5D3B51477800}" dt="2024-06-06T16:33:51.273" v="2025" actId="478"/>
          <ac:picMkLst>
            <pc:docMk/>
            <pc:sldMk cId="3060313290" sldId="2701"/>
            <ac:picMk id="5" creationId="{00000000-0000-0000-0000-000000000000}"/>
          </ac:picMkLst>
        </pc:picChg>
        <pc:picChg chg="add mod ord modCrop">
          <ac:chgData name="Richardson Concha, Luis Enrique" userId="24a26401-76f9-4f62-bb1e-7d6980a282dd" providerId="ADAL" clId="{8E78D5C7-540C-4C79-A382-5D3B51477800}" dt="2024-06-06T16:33:49.958" v="2012"/>
          <ac:picMkLst>
            <pc:docMk/>
            <pc:sldMk cId="3060313290" sldId="2701"/>
            <ac:picMk id="8" creationId="{8A5FFCAE-7942-FD56-1B8A-34967F9FCD52}"/>
          </ac:picMkLst>
        </pc:picChg>
      </pc:sldChg>
      <pc:sldChg chg="del replTag delTag">
        <pc:chgData name="Richardson Concha, Luis Enrique" userId="24a26401-76f9-4f62-bb1e-7d6980a282dd" providerId="ADAL" clId="{8E78D5C7-540C-4C79-A382-5D3B51477800}" dt="2024-06-05T20:28:28.983" v="212" actId="47"/>
        <pc:sldMkLst>
          <pc:docMk/>
          <pc:sldMk cId="3447600091" sldId="2701"/>
        </pc:sldMkLst>
      </pc:sldChg>
      <pc:sldChg chg="del replTag delTag">
        <pc:chgData name="Richardson Concha, Luis Enrique" userId="24a26401-76f9-4f62-bb1e-7d6980a282dd" providerId="ADAL" clId="{8E78D5C7-540C-4C79-A382-5D3B51477800}" dt="2024-06-05T20:28:29.530" v="217" actId="47"/>
        <pc:sldMkLst>
          <pc:docMk/>
          <pc:sldMk cId="1633057120" sldId="2702"/>
        </pc:sldMkLst>
      </pc:sldChg>
      <pc:sldChg chg="addSp delSp modSp add mod replTag delTag modNotesTx">
        <pc:chgData name="Richardson Concha, Luis Enrique" userId="24a26401-76f9-4f62-bb1e-7d6980a282dd" providerId="ADAL" clId="{8E78D5C7-540C-4C79-A382-5D3B51477800}" dt="2024-06-06T21:16:44.146" v="2969"/>
        <pc:sldMkLst>
          <pc:docMk/>
          <pc:sldMk cId="2237173219" sldId="2702"/>
        </pc:sldMkLst>
        <pc:spChg chg="mod ord">
          <ac:chgData name="Richardson Concha, Luis Enrique" userId="24a26401-76f9-4f62-bb1e-7d6980a282dd" providerId="ADAL" clId="{8E78D5C7-540C-4C79-A382-5D3B51477800}" dt="2024-06-06T16:31:18.520" v="1985"/>
          <ac:spMkLst>
            <pc:docMk/>
            <pc:sldMk cId="2237173219" sldId="2702"/>
            <ac:spMk id="17" creationId="{BFBD94C6-FF5E-924E-A4E6-F9CEF0E1FFE5}"/>
          </ac:spMkLst>
        </pc:spChg>
        <pc:spChg chg="mod ord">
          <ac:chgData name="Richardson Concha, Luis Enrique" userId="24a26401-76f9-4f62-bb1e-7d6980a282dd" providerId="ADAL" clId="{8E78D5C7-540C-4C79-A382-5D3B51477800}" dt="2024-06-06T16:31:18.520" v="1983"/>
          <ac:spMkLst>
            <pc:docMk/>
            <pc:sldMk cId="2237173219" sldId="2702"/>
            <ac:spMk id="36" creationId="{F9506A3C-ED6C-864E-946A-28D52CFBE7C1}"/>
          </ac:spMkLst>
        </pc:spChg>
        <pc:graphicFrameChg chg="mod">
          <ac:chgData name="Richardson Concha, Luis Enrique" userId="24a26401-76f9-4f62-bb1e-7d6980a282dd" providerId="ADAL" clId="{8E78D5C7-540C-4C79-A382-5D3B51477800}" dt="2024-06-06T16:31:18.523" v="1991"/>
          <ac:graphicFrameMkLst>
            <pc:docMk/>
            <pc:sldMk cId="2237173219" sldId="2702"/>
            <ac:graphicFrameMk id="6" creationId="{7916D848-0D74-682B-2059-D4867C0BDEEE}"/>
          </ac:graphicFrameMkLst>
        </pc:graphicFrameChg>
        <pc:picChg chg="mod ord">
          <ac:chgData name="Richardson Concha, Luis Enrique" userId="24a26401-76f9-4f62-bb1e-7d6980a282dd" providerId="ADAL" clId="{8E78D5C7-540C-4C79-A382-5D3B51477800}" dt="2024-06-06T16:31:18.520" v="1987"/>
          <ac:picMkLst>
            <pc:docMk/>
            <pc:sldMk cId="2237173219" sldId="2702"/>
            <ac:picMk id="3" creationId="{E326459A-0391-08B7-78AF-F69E865FCF45}"/>
          </ac:picMkLst>
        </pc:picChg>
        <pc:picChg chg="add del mod">
          <ac:chgData name="Richardson Concha, Luis Enrique" userId="24a26401-76f9-4f62-bb1e-7d6980a282dd" providerId="ADAL" clId="{8E78D5C7-540C-4C79-A382-5D3B51477800}" dt="2024-06-06T16:26:37.828" v="1913" actId="21"/>
          <ac:picMkLst>
            <pc:docMk/>
            <pc:sldMk cId="2237173219" sldId="2702"/>
            <ac:picMk id="4" creationId="{EC419176-E53B-9102-930A-92F2A04C4E30}"/>
          </ac:picMkLst>
        </pc:picChg>
        <pc:picChg chg="del mod ord">
          <ac:chgData name="Richardson Concha, Luis Enrique" userId="24a26401-76f9-4f62-bb1e-7d6980a282dd" providerId="ADAL" clId="{8E78D5C7-540C-4C79-A382-5D3B51477800}" dt="2024-06-06T16:31:19.851" v="1992" actId="478"/>
          <ac:picMkLst>
            <pc:docMk/>
            <pc:sldMk cId="2237173219" sldId="2702"/>
            <ac:picMk id="5" creationId="{00000000-0000-0000-0000-000000000000}"/>
          </ac:picMkLst>
        </pc:picChg>
        <pc:picChg chg="add mod ord">
          <ac:chgData name="Richardson Concha, Luis Enrique" userId="24a26401-76f9-4f62-bb1e-7d6980a282dd" providerId="ADAL" clId="{8E78D5C7-540C-4C79-A382-5D3B51477800}" dt="2024-06-06T16:31:22.841" v="1993" actId="14100"/>
          <ac:picMkLst>
            <pc:docMk/>
            <pc:sldMk cId="2237173219" sldId="2702"/>
            <ac:picMk id="7" creationId="{0AB48D45-99BE-7E8C-3F2E-D7A8976AB47B}"/>
          </ac:picMkLst>
        </pc:picChg>
      </pc:sldChg>
      <pc:sldChg chg="addSp delSp modSp add mod ord replTag delTag">
        <pc:chgData name="Richardson Concha, Luis Enrique" userId="24a26401-76f9-4f62-bb1e-7d6980a282dd" providerId="ADAL" clId="{8E78D5C7-540C-4C79-A382-5D3B51477800}" dt="2024-06-06T21:16:58.725" v="2975"/>
        <pc:sldMkLst>
          <pc:docMk/>
          <pc:sldMk cId="47669840" sldId="2703"/>
        </pc:sldMkLst>
        <pc:spChg chg="mod ord">
          <ac:chgData name="Richardson Concha, Luis Enrique" userId="24a26401-76f9-4f62-bb1e-7d6980a282dd" providerId="ADAL" clId="{8E78D5C7-540C-4C79-A382-5D3B51477800}" dt="2024-06-06T16:44:19.160" v="2057"/>
          <ac:spMkLst>
            <pc:docMk/>
            <pc:sldMk cId="47669840" sldId="2703"/>
            <ac:spMk id="17" creationId="{BFBD94C6-FF5E-924E-A4E6-F9CEF0E1FFE5}"/>
          </ac:spMkLst>
        </pc:spChg>
        <pc:spChg chg="mod ord">
          <ac:chgData name="Richardson Concha, Luis Enrique" userId="24a26401-76f9-4f62-bb1e-7d6980a282dd" providerId="ADAL" clId="{8E78D5C7-540C-4C79-A382-5D3B51477800}" dt="2024-06-06T16:44:19.160" v="2055"/>
          <ac:spMkLst>
            <pc:docMk/>
            <pc:sldMk cId="47669840" sldId="2703"/>
            <ac:spMk id="36" creationId="{F9506A3C-ED6C-864E-946A-28D52CFBE7C1}"/>
          </ac:spMkLst>
        </pc:spChg>
        <pc:graphicFrameChg chg="mod">
          <ac:chgData name="Richardson Concha, Luis Enrique" userId="24a26401-76f9-4f62-bb1e-7d6980a282dd" providerId="ADAL" clId="{8E78D5C7-540C-4C79-A382-5D3B51477800}" dt="2024-06-06T16:44:19.168" v="2063"/>
          <ac:graphicFrameMkLst>
            <pc:docMk/>
            <pc:sldMk cId="47669840" sldId="2703"/>
            <ac:graphicFrameMk id="6" creationId="{7916D848-0D74-682B-2059-D4867C0BDEEE}"/>
          </ac:graphicFrameMkLst>
        </pc:graphicFrameChg>
        <pc:picChg chg="mod ord">
          <ac:chgData name="Richardson Concha, Luis Enrique" userId="24a26401-76f9-4f62-bb1e-7d6980a282dd" providerId="ADAL" clId="{8E78D5C7-540C-4C79-A382-5D3B51477800}" dt="2024-06-06T16:44:19.160" v="2059"/>
          <ac:picMkLst>
            <pc:docMk/>
            <pc:sldMk cId="47669840" sldId="2703"/>
            <ac:picMk id="3" creationId="{E326459A-0391-08B7-78AF-F69E865FCF45}"/>
          </ac:picMkLst>
        </pc:picChg>
        <pc:picChg chg="add mod ord modCrop">
          <ac:chgData name="Richardson Concha, Luis Enrique" userId="24a26401-76f9-4f62-bb1e-7d6980a282dd" providerId="ADAL" clId="{8E78D5C7-540C-4C79-A382-5D3B51477800}" dt="2024-06-06T16:44:19.159" v="2051"/>
          <ac:picMkLst>
            <pc:docMk/>
            <pc:sldMk cId="47669840" sldId="2703"/>
            <ac:picMk id="4" creationId="{74501538-E00D-866F-0738-890BC85A4A9B}"/>
          </ac:picMkLst>
        </pc:picChg>
        <pc:picChg chg="del mod ord">
          <ac:chgData name="Richardson Concha, Luis Enrique" userId="24a26401-76f9-4f62-bb1e-7d6980a282dd" providerId="ADAL" clId="{8E78D5C7-540C-4C79-A382-5D3B51477800}" dt="2024-06-06T16:44:20.596" v="2064" actId="478"/>
          <ac:picMkLst>
            <pc:docMk/>
            <pc:sldMk cId="47669840" sldId="2703"/>
            <ac:picMk id="5" creationId="{00000000-0000-0000-0000-000000000000}"/>
          </ac:picMkLst>
        </pc:picChg>
      </pc:sldChg>
      <pc:sldChg chg="del replTag delTag">
        <pc:chgData name="Richardson Concha, Luis Enrique" userId="24a26401-76f9-4f62-bb1e-7d6980a282dd" providerId="ADAL" clId="{8E78D5C7-540C-4C79-A382-5D3B51477800}" dt="2024-06-05T20:28:30.095" v="222" actId="47"/>
        <pc:sldMkLst>
          <pc:docMk/>
          <pc:sldMk cId="2343045108" sldId="2703"/>
        </pc:sldMkLst>
      </pc:sldChg>
      <pc:sldChg chg="addSp delSp modSp add mod ord replTag delTag">
        <pc:chgData name="Richardson Concha, Luis Enrique" userId="24a26401-76f9-4f62-bb1e-7d6980a282dd" providerId="ADAL" clId="{8E78D5C7-540C-4C79-A382-5D3B51477800}" dt="2024-06-06T21:17:01.606" v="2979"/>
        <pc:sldMkLst>
          <pc:docMk/>
          <pc:sldMk cId="3439049398" sldId="2704"/>
        </pc:sldMkLst>
        <pc:spChg chg="mod ord">
          <ac:chgData name="Richardson Concha, Luis Enrique" userId="24a26401-76f9-4f62-bb1e-7d6980a282dd" providerId="ADAL" clId="{8E78D5C7-540C-4C79-A382-5D3B51477800}" dt="2024-06-06T17:19:23.947" v="2094"/>
          <ac:spMkLst>
            <pc:docMk/>
            <pc:sldMk cId="3439049398" sldId="2704"/>
            <ac:spMk id="17" creationId="{BFBD94C6-FF5E-924E-A4E6-F9CEF0E1FFE5}"/>
          </ac:spMkLst>
        </pc:spChg>
        <pc:spChg chg="mod ord">
          <ac:chgData name="Richardson Concha, Luis Enrique" userId="24a26401-76f9-4f62-bb1e-7d6980a282dd" providerId="ADAL" clId="{8E78D5C7-540C-4C79-A382-5D3B51477800}" dt="2024-06-06T17:19:23.947" v="2092"/>
          <ac:spMkLst>
            <pc:docMk/>
            <pc:sldMk cId="3439049398" sldId="2704"/>
            <ac:spMk id="36" creationId="{F9506A3C-ED6C-864E-946A-28D52CFBE7C1}"/>
          </ac:spMkLst>
        </pc:spChg>
        <pc:graphicFrameChg chg="mod">
          <ac:chgData name="Richardson Concha, Luis Enrique" userId="24a26401-76f9-4f62-bb1e-7d6980a282dd" providerId="ADAL" clId="{8E78D5C7-540C-4C79-A382-5D3B51477800}" dt="2024-06-06T17:19:23.956" v="2100"/>
          <ac:graphicFrameMkLst>
            <pc:docMk/>
            <pc:sldMk cId="3439049398" sldId="2704"/>
            <ac:graphicFrameMk id="6" creationId="{7916D848-0D74-682B-2059-D4867C0BDEEE}"/>
          </ac:graphicFrameMkLst>
        </pc:graphicFrameChg>
        <pc:picChg chg="mod ord">
          <ac:chgData name="Richardson Concha, Luis Enrique" userId="24a26401-76f9-4f62-bb1e-7d6980a282dd" providerId="ADAL" clId="{8E78D5C7-540C-4C79-A382-5D3B51477800}" dt="2024-06-06T17:19:23.947" v="2096"/>
          <ac:picMkLst>
            <pc:docMk/>
            <pc:sldMk cId="3439049398" sldId="2704"/>
            <ac:picMk id="3" creationId="{E326459A-0391-08B7-78AF-F69E865FCF45}"/>
          </ac:picMkLst>
        </pc:picChg>
        <pc:picChg chg="add mod ord modCrop">
          <ac:chgData name="Richardson Concha, Luis Enrique" userId="24a26401-76f9-4f62-bb1e-7d6980a282dd" providerId="ADAL" clId="{8E78D5C7-540C-4C79-A382-5D3B51477800}" dt="2024-06-06T17:19:23.944" v="2088"/>
          <ac:picMkLst>
            <pc:docMk/>
            <pc:sldMk cId="3439049398" sldId="2704"/>
            <ac:picMk id="4" creationId="{CEB443B1-B660-F629-F3CC-51A54145A804}"/>
          </ac:picMkLst>
        </pc:picChg>
        <pc:picChg chg="del mod ord">
          <ac:chgData name="Richardson Concha, Luis Enrique" userId="24a26401-76f9-4f62-bb1e-7d6980a282dd" providerId="ADAL" clId="{8E78D5C7-540C-4C79-A382-5D3B51477800}" dt="2024-06-06T17:19:25.758" v="2101" actId="478"/>
          <ac:picMkLst>
            <pc:docMk/>
            <pc:sldMk cId="3439049398" sldId="2704"/>
            <ac:picMk id="5" creationId="{00000000-0000-0000-0000-000000000000}"/>
          </ac:picMkLst>
        </pc:picChg>
      </pc:sldChg>
      <pc:sldChg chg="del replTag delTag">
        <pc:chgData name="Richardson Concha, Luis Enrique" userId="24a26401-76f9-4f62-bb1e-7d6980a282dd" providerId="ADAL" clId="{8E78D5C7-540C-4C79-A382-5D3B51477800}" dt="2024-06-05T20:28:30.676" v="227" actId="47"/>
        <pc:sldMkLst>
          <pc:docMk/>
          <pc:sldMk cId="3460794031" sldId="2704"/>
        </pc:sldMkLst>
      </pc:sldChg>
      <pc:sldChg chg="addSp delSp modSp add mod ord replTag delTag">
        <pc:chgData name="Richardson Concha, Luis Enrique" userId="24a26401-76f9-4f62-bb1e-7d6980a282dd" providerId="ADAL" clId="{8E78D5C7-540C-4C79-A382-5D3B51477800}" dt="2024-06-06T21:17:14.183" v="2981"/>
        <pc:sldMkLst>
          <pc:docMk/>
          <pc:sldMk cId="109688094" sldId="2705"/>
        </pc:sldMkLst>
        <pc:spChg chg="mod ord">
          <ac:chgData name="Richardson Concha, Luis Enrique" userId="24a26401-76f9-4f62-bb1e-7d6980a282dd" providerId="ADAL" clId="{8E78D5C7-540C-4C79-A382-5D3B51477800}" dt="2024-06-06T17:21:01.137" v="2133"/>
          <ac:spMkLst>
            <pc:docMk/>
            <pc:sldMk cId="109688094" sldId="2705"/>
            <ac:spMk id="17" creationId="{BFBD94C6-FF5E-924E-A4E6-F9CEF0E1FFE5}"/>
          </ac:spMkLst>
        </pc:spChg>
        <pc:spChg chg="mod ord">
          <ac:chgData name="Richardson Concha, Luis Enrique" userId="24a26401-76f9-4f62-bb1e-7d6980a282dd" providerId="ADAL" clId="{8E78D5C7-540C-4C79-A382-5D3B51477800}" dt="2024-06-06T17:21:01.136" v="2131"/>
          <ac:spMkLst>
            <pc:docMk/>
            <pc:sldMk cId="109688094" sldId="2705"/>
            <ac:spMk id="36" creationId="{F9506A3C-ED6C-864E-946A-28D52CFBE7C1}"/>
          </ac:spMkLst>
        </pc:spChg>
        <pc:graphicFrameChg chg="mod">
          <ac:chgData name="Richardson Concha, Luis Enrique" userId="24a26401-76f9-4f62-bb1e-7d6980a282dd" providerId="ADAL" clId="{8E78D5C7-540C-4C79-A382-5D3B51477800}" dt="2024-06-06T17:21:01.141" v="2139"/>
          <ac:graphicFrameMkLst>
            <pc:docMk/>
            <pc:sldMk cId="109688094" sldId="2705"/>
            <ac:graphicFrameMk id="6" creationId="{7916D848-0D74-682B-2059-D4867C0BDEEE}"/>
          </ac:graphicFrameMkLst>
        </pc:graphicFrameChg>
        <pc:picChg chg="mod ord">
          <ac:chgData name="Richardson Concha, Luis Enrique" userId="24a26401-76f9-4f62-bb1e-7d6980a282dd" providerId="ADAL" clId="{8E78D5C7-540C-4C79-A382-5D3B51477800}" dt="2024-06-06T17:21:01.137" v="2135"/>
          <ac:picMkLst>
            <pc:docMk/>
            <pc:sldMk cId="109688094" sldId="2705"/>
            <ac:picMk id="3" creationId="{E326459A-0391-08B7-78AF-F69E865FCF45}"/>
          </ac:picMkLst>
        </pc:picChg>
        <pc:picChg chg="add mod ord modCrop">
          <ac:chgData name="Richardson Concha, Luis Enrique" userId="24a26401-76f9-4f62-bb1e-7d6980a282dd" providerId="ADAL" clId="{8E78D5C7-540C-4C79-A382-5D3B51477800}" dt="2024-06-06T17:21:01.135" v="2127"/>
          <ac:picMkLst>
            <pc:docMk/>
            <pc:sldMk cId="109688094" sldId="2705"/>
            <ac:picMk id="4" creationId="{7BB2B4E5-2851-8093-3359-C7FE44F2728A}"/>
          </ac:picMkLst>
        </pc:picChg>
        <pc:picChg chg="del mod ord">
          <ac:chgData name="Richardson Concha, Luis Enrique" userId="24a26401-76f9-4f62-bb1e-7d6980a282dd" providerId="ADAL" clId="{8E78D5C7-540C-4C79-A382-5D3B51477800}" dt="2024-06-06T17:21:02.498" v="2140" actId="478"/>
          <ac:picMkLst>
            <pc:docMk/>
            <pc:sldMk cId="109688094" sldId="2705"/>
            <ac:picMk id="5" creationId="{00000000-0000-0000-0000-000000000000}"/>
          </ac:picMkLst>
        </pc:picChg>
      </pc:sldChg>
      <pc:sldChg chg="del replTag delTag">
        <pc:chgData name="Richardson Concha, Luis Enrique" userId="24a26401-76f9-4f62-bb1e-7d6980a282dd" providerId="ADAL" clId="{8E78D5C7-540C-4C79-A382-5D3B51477800}" dt="2024-06-05T20:28:31.299" v="232" actId="47"/>
        <pc:sldMkLst>
          <pc:docMk/>
          <pc:sldMk cId="616261486" sldId="2705"/>
        </pc:sldMkLst>
      </pc:sldChg>
      <pc:sldChg chg="del replTag delTag">
        <pc:chgData name="Richardson Concha, Luis Enrique" userId="24a26401-76f9-4f62-bb1e-7d6980a282dd" providerId="ADAL" clId="{8E78D5C7-540C-4C79-A382-5D3B51477800}" dt="2024-06-05T20:28:31.907" v="237" actId="47"/>
        <pc:sldMkLst>
          <pc:docMk/>
          <pc:sldMk cId="3745508270" sldId="2706"/>
        </pc:sldMkLst>
      </pc:sldChg>
      <pc:sldChg chg="addSp delSp modSp add mod ord replTag delTag">
        <pc:chgData name="Richardson Concha, Luis Enrique" userId="24a26401-76f9-4f62-bb1e-7d6980a282dd" providerId="ADAL" clId="{8E78D5C7-540C-4C79-A382-5D3B51477800}" dt="2024-06-06T21:17:17.697" v="2985"/>
        <pc:sldMkLst>
          <pc:docMk/>
          <pc:sldMk cId="4168152505" sldId="2706"/>
        </pc:sldMkLst>
        <pc:spChg chg="mod ord">
          <ac:chgData name="Richardson Concha, Luis Enrique" userId="24a26401-76f9-4f62-bb1e-7d6980a282dd" providerId="ADAL" clId="{8E78D5C7-540C-4C79-A382-5D3B51477800}" dt="2024-06-06T17:22:12.963" v="2155"/>
          <ac:spMkLst>
            <pc:docMk/>
            <pc:sldMk cId="4168152505" sldId="2706"/>
            <ac:spMk id="17" creationId="{BFBD94C6-FF5E-924E-A4E6-F9CEF0E1FFE5}"/>
          </ac:spMkLst>
        </pc:spChg>
        <pc:spChg chg="mod ord">
          <ac:chgData name="Richardson Concha, Luis Enrique" userId="24a26401-76f9-4f62-bb1e-7d6980a282dd" providerId="ADAL" clId="{8E78D5C7-540C-4C79-A382-5D3B51477800}" dt="2024-06-06T17:22:12.963" v="2153"/>
          <ac:spMkLst>
            <pc:docMk/>
            <pc:sldMk cId="4168152505" sldId="2706"/>
            <ac:spMk id="36" creationId="{F9506A3C-ED6C-864E-946A-28D52CFBE7C1}"/>
          </ac:spMkLst>
        </pc:spChg>
        <pc:graphicFrameChg chg="mod">
          <ac:chgData name="Richardson Concha, Luis Enrique" userId="24a26401-76f9-4f62-bb1e-7d6980a282dd" providerId="ADAL" clId="{8E78D5C7-540C-4C79-A382-5D3B51477800}" dt="2024-06-06T17:22:12.968" v="2161"/>
          <ac:graphicFrameMkLst>
            <pc:docMk/>
            <pc:sldMk cId="4168152505" sldId="2706"/>
            <ac:graphicFrameMk id="6" creationId="{7916D848-0D74-682B-2059-D4867C0BDEEE}"/>
          </ac:graphicFrameMkLst>
        </pc:graphicFrameChg>
        <pc:picChg chg="mod ord">
          <ac:chgData name="Richardson Concha, Luis Enrique" userId="24a26401-76f9-4f62-bb1e-7d6980a282dd" providerId="ADAL" clId="{8E78D5C7-540C-4C79-A382-5D3B51477800}" dt="2024-06-06T17:22:12.964" v="2157"/>
          <ac:picMkLst>
            <pc:docMk/>
            <pc:sldMk cId="4168152505" sldId="2706"/>
            <ac:picMk id="3" creationId="{E326459A-0391-08B7-78AF-F69E865FCF45}"/>
          </ac:picMkLst>
        </pc:picChg>
        <pc:picChg chg="del mod ord">
          <ac:chgData name="Richardson Concha, Luis Enrique" userId="24a26401-76f9-4f62-bb1e-7d6980a282dd" providerId="ADAL" clId="{8E78D5C7-540C-4C79-A382-5D3B51477800}" dt="2024-06-06T17:22:14.257" v="2162" actId="478"/>
          <ac:picMkLst>
            <pc:docMk/>
            <pc:sldMk cId="4168152505" sldId="2706"/>
            <ac:picMk id="5" creationId="{00000000-0000-0000-0000-000000000000}"/>
          </ac:picMkLst>
        </pc:picChg>
        <pc:picChg chg="add mod">
          <ac:chgData name="Richardson Concha, Luis Enrique" userId="24a26401-76f9-4f62-bb1e-7d6980a282dd" providerId="ADAL" clId="{8E78D5C7-540C-4C79-A382-5D3B51477800}" dt="2024-06-06T17:22:12.962" v="2149"/>
          <ac:picMkLst>
            <pc:docMk/>
            <pc:sldMk cId="4168152505" sldId="2706"/>
            <ac:picMk id="1026" creationId="{51B170F2-1250-927A-768B-F3EF00E9C37F}"/>
          </ac:picMkLst>
        </pc:picChg>
      </pc:sldChg>
      <pc:sldChg chg="addSp delSp modSp add mod ord replTag delTag">
        <pc:chgData name="Richardson Concha, Luis Enrique" userId="24a26401-76f9-4f62-bb1e-7d6980a282dd" providerId="ADAL" clId="{8E78D5C7-540C-4C79-A382-5D3B51477800}" dt="2024-06-06T21:17:34.339" v="2987"/>
        <pc:sldMkLst>
          <pc:docMk/>
          <pc:sldMk cId="2479657985" sldId="2707"/>
        </pc:sldMkLst>
        <pc:spChg chg="mod ord">
          <ac:chgData name="Richardson Concha, Luis Enrique" userId="24a26401-76f9-4f62-bb1e-7d6980a282dd" providerId="ADAL" clId="{8E78D5C7-540C-4C79-A382-5D3B51477800}" dt="2024-06-06T17:30:39.642" v="2190"/>
          <ac:spMkLst>
            <pc:docMk/>
            <pc:sldMk cId="2479657985" sldId="2707"/>
            <ac:spMk id="17" creationId="{BFBD94C6-FF5E-924E-A4E6-F9CEF0E1FFE5}"/>
          </ac:spMkLst>
        </pc:spChg>
        <pc:spChg chg="mod ord">
          <ac:chgData name="Richardson Concha, Luis Enrique" userId="24a26401-76f9-4f62-bb1e-7d6980a282dd" providerId="ADAL" clId="{8E78D5C7-540C-4C79-A382-5D3B51477800}" dt="2024-06-06T17:30:39.642" v="2188"/>
          <ac:spMkLst>
            <pc:docMk/>
            <pc:sldMk cId="2479657985" sldId="2707"/>
            <ac:spMk id="36" creationId="{F9506A3C-ED6C-864E-946A-28D52CFBE7C1}"/>
          </ac:spMkLst>
        </pc:spChg>
        <pc:graphicFrameChg chg="mod">
          <ac:chgData name="Richardson Concha, Luis Enrique" userId="24a26401-76f9-4f62-bb1e-7d6980a282dd" providerId="ADAL" clId="{8E78D5C7-540C-4C79-A382-5D3B51477800}" dt="2024-06-06T17:30:39.647" v="2196"/>
          <ac:graphicFrameMkLst>
            <pc:docMk/>
            <pc:sldMk cId="2479657985" sldId="2707"/>
            <ac:graphicFrameMk id="6" creationId="{7916D848-0D74-682B-2059-D4867C0BDEEE}"/>
          </ac:graphicFrameMkLst>
        </pc:graphicFrameChg>
        <pc:picChg chg="mod ord">
          <ac:chgData name="Richardson Concha, Luis Enrique" userId="24a26401-76f9-4f62-bb1e-7d6980a282dd" providerId="ADAL" clId="{8E78D5C7-540C-4C79-A382-5D3B51477800}" dt="2024-06-06T17:30:39.644" v="2192"/>
          <ac:picMkLst>
            <pc:docMk/>
            <pc:sldMk cId="2479657985" sldId="2707"/>
            <ac:picMk id="3" creationId="{E326459A-0391-08B7-78AF-F69E865FCF45}"/>
          </ac:picMkLst>
        </pc:picChg>
        <pc:picChg chg="add mod ord modCrop">
          <ac:chgData name="Richardson Concha, Luis Enrique" userId="24a26401-76f9-4f62-bb1e-7d6980a282dd" providerId="ADAL" clId="{8E78D5C7-540C-4C79-A382-5D3B51477800}" dt="2024-06-06T17:30:39.641" v="2184"/>
          <ac:picMkLst>
            <pc:docMk/>
            <pc:sldMk cId="2479657985" sldId="2707"/>
            <ac:picMk id="4" creationId="{7C38C65D-73D0-FBF4-EAB4-7F1BBAB2507D}"/>
          </ac:picMkLst>
        </pc:picChg>
        <pc:picChg chg="del mod ord">
          <ac:chgData name="Richardson Concha, Luis Enrique" userId="24a26401-76f9-4f62-bb1e-7d6980a282dd" providerId="ADAL" clId="{8E78D5C7-540C-4C79-A382-5D3B51477800}" dt="2024-06-06T17:30:40.930" v="2197" actId="478"/>
          <ac:picMkLst>
            <pc:docMk/>
            <pc:sldMk cId="2479657985" sldId="2707"/>
            <ac:picMk id="5" creationId="{00000000-0000-0000-0000-000000000000}"/>
          </ac:picMkLst>
        </pc:picChg>
      </pc:sldChg>
      <pc:sldChg chg="del replTag delTag">
        <pc:chgData name="Richardson Concha, Luis Enrique" userId="24a26401-76f9-4f62-bb1e-7d6980a282dd" providerId="ADAL" clId="{8E78D5C7-540C-4C79-A382-5D3B51477800}" dt="2024-06-05T20:28:32.575" v="242" actId="47"/>
        <pc:sldMkLst>
          <pc:docMk/>
          <pc:sldMk cId="4106909936" sldId="2707"/>
        </pc:sldMkLst>
      </pc:sldChg>
      <pc:sldChg chg="del replTag delTag">
        <pc:chgData name="Richardson Concha, Luis Enrique" userId="24a26401-76f9-4f62-bb1e-7d6980a282dd" providerId="ADAL" clId="{8E78D5C7-540C-4C79-A382-5D3B51477800}" dt="2024-06-05T20:28:33.191" v="247" actId="47"/>
        <pc:sldMkLst>
          <pc:docMk/>
          <pc:sldMk cId="2288317796" sldId="2708"/>
        </pc:sldMkLst>
      </pc:sldChg>
      <pc:sldChg chg="addSp delSp modSp add mod ord replTag delTag">
        <pc:chgData name="Richardson Concha, Luis Enrique" userId="24a26401-76f9-4f62-bb1e-7d6980a282dd" providerId="ADAL" clId="{8E78D5C7-540C-4C79-A382-5D3B51477800}" dt="2024-06-06T21:17:39.212" v="2992" actId="20577"/>
        <pc:sldMkLst>
          <pc:docMk/>
          <pc:sldMk cId="3872246441" sldId="2708"/>
        </pc:sldMkLst>
        <pc:spChg chg="add">
          <ac:chgData name="Richardson Concha, Luis Enrique" userId="24a26401-76f9-4f62-bb1e-7d6980a282dd" providerId="ADAL" clId="{8E78D5C7-540C-4C79-A382-5D3B51477800}" dt="2024-06-06T17:44:36.018" v="2208"/>
          <ac:spMkLst>
            <pc:docMk/>
            <pc:sldMk cId="3872246441" sldId="2708"/>
            <ac:spMk id="2" creationId="{1BEB5831-C99D-D3FE-2EB0-6B2024FB8D51}"/>
          </ac:spMkLst>
        </pc:spChg>
        <pc:spChg chg="mod ord">
          <ac:chgData name="Richardson Concha, Luis Enrique" userId="24a26401-76f9-4f62-bb1e-7d6980a282dd" providerId="ADAL" clId="{8E78D5C7-540C-4C79-A382-5D3B51477800}" dt="2024-06-06T17:47:22.789" v="2233"/>
          <ac:spMkLst>
            <pc:docMk/>
            <pc:sldMk cId="3872246441" sldId="2708"/>
            <ac:spMk id="17" creationId="{BFBD94C6-FF5E-924E-A4E6-F9CEF0E1FFE5}"/>
          </ac:spMkLst>
        </pc:spChg>
        <pc:spChg chg="mod ord">
          <ac:chgData name="Richardson Concha, Luis Enrique" userId="24a26401-76f9-4f62-bb1e-7d6980a282dd" providerId="ADAL" clId="{8E78D5C7-540C-4C79-A382-5D3B51477800}" dt="2024-06-06T21:17:39.212" v="2992" actId="20577"/>
          <ac:spMkLst>
            <pc:docMk/>
            <pc:sldMk cId="3872246441" sldId="2708"/>
            <ac:spMk id="36" creationId="{F9506A3C-ED6C-864E-946A-28D52CFBE7C1}"/>
          </ac:spMkLst>
        </pc:spChg>
        <pc:graphicFrameChg chg="mod">
          <ac:chgData name="Richardson Concha, Luis Enrique" userId="24a26401-76f9-4f62-bb1e-7d6980a282dd" providerId="ADAL" clId="{8E78D5C7-540C-4C79-A382-5D3B51477800}" dt="2024-06-06T17:47:22.795" v="2239"/>
          <ac:graphicFrameMkLst>
            <pc:docMk/>
            <pc:sldMk cId="3872246441" sldId="2708"/>
            <ac:graphicFrameMk id="6" creationId="{7916D848-0D74-682B-2059-D4867C0BDEEE}"/>
          </ac:graphicFrameMkLst>
        </pc:graphicFrameChg>
        <pc:picChg chg="mod ord">
          <ac:chgData name="Richardson Concha, Luis Enrique" userId="24a26401-76f9-4f62-bb1e-7d6980a282dd" providerId="ADAL" clId="{8E78D5C7-540C-4C79-A382-5D3B51477800}" dt="2024-06-06T17:47:22.789" v="2235"/>
          <ac:picMkLst>
            <pc:docMk/>
            <pc:sldMk cId="3872246441" sldId="2708"/>
            <ac:picMk id="3" creationId="{E326459A-0391-08B7-78AF-F69E865FCF45}"/>
          </ac:picMkLst>
        </pc:picChg>
        <pc:picChg chg="add del mod ord">
          <ac:chgData name="Richardson Concha, Luis Enrique" userId="24a26401-76f9-4f62-bb1e-7d6980a282dd" providerId="ADAL" clId="{8E78D5C7-540C-4C79-A382-5D3B51477800}" dt="2024-06-06T17:47:24.018" v="2240" actId="478"/>
          <ac:picMkLst>
            <pc:docMk/>
            <pc:sldMk cId="3872246441" sldId="2708"/>
            <ac:picMk id="5" creationId="{00000000-0000-0000-0000-000000000000}"/>
          </ac:picMkLst>
        </pc:picChg>
        <pc:picChg chg="add del mod">
          <ac:chgData name="Richardson Concha, Luis Enrique" userId="24a26401-76f9-4f62-bb1e-7d6980a282dd" providerId="ADAL" clId="{8E78D5C7-540C-4C79-A382-5D3B51477800}" dt="2024-06-06T17:46:01.712" v="2222" actId="478"/>
          <ac:picMkLst>
            <pc:docMk/>
            <pc:sldMk cId="3872246441" sldId="2708"/>
            <ac:picMk id="2052" creationId="{95440F00-4675-2EF0-F2CB-8F1B6A91CE92}"/>
          </ac:picMkLst>
        </pc:picChg>
        <pc:picChg chg="add mod">
          <ac:chgData name="Richardson Concha, Luis Enrique" userId="24a26401-76f9-4f62-bb1e-7d6980a282dd" providerId="ADAL" clId="{8E78D5C7-540C-4C79-A382-5D3B51477800}" dt="2024-06-06T17:47:22.788" v="2227"/>
          <ac:picMkLst>
            <pc:docMk/>
            <pc:sldMk cId="3872246441" sldId="2708"/>
            <ac:picMk id="2054" creationId="{8D10BD91-C9D6-FEF7-62EA-9FA150786766}"/>
          </ac:picMkLst>
        </pc:picChg>
      </pc:sldChg>
      <pc:sldChg chg="del replTag delTag">
        <pc:chgData name="Richardson Concha, Luis Enrique" userId="24a26401-76f9-4f62-bb1e-7d6980a282dd" providerId="ADAL" clId="{8E78D5C7-540C-4C79-A382-5D3B51477800}" dt="2024-06-05T20:28:33.815" v="252" actId="47"/>
        <pc:sldMkLst>
          <pc:docMk/>
          <pc:sldMk cId="1714933851" sldId="2709"/>
        </pc:sldMkLst>
      </pc:sldChg>
      <pc:sldChg chg="addSp delSp modSp add mod ord replTag delTag">
        <pc:chgData name="Richardson Concha, Luis Enrique" userId="24a26401-76f9-4f62-bb1e-7d6980a282dd" providerId="ADAL" clId="{8E78D5C7-540C-4C79-A382-5D3B51477800}" dt="2024-06-06T21:17:53.750" v="2994"/>
        <pc:sldMkLst>
          <pc:docMk/>
          <pc:sldMk cId="1787597933" sldId="2709"/>
        </pc:sldMkLst>
        <pc:spChg chg="mod ord">
          <ac:chgData name="Richardson Concha, Luis Enrique" userId="24a26401-76f9-4f62-bb1e-7d6980a282dd" providerId="ADAL" clId="{8E78D5C7-540C-4C79-A382-5D3B51477800}" dt="2024-06-06T17:58:48.680" v="2367"/>
          <ac:spMkLst>
            <pc:docMk/>
            <pc:sldMk cId="1787597933" sldId="2709"/>
            <ac:spMk id="17" creationId="{BFBD94C6-FF5E-924E-A4E6-F9CEF0E1FFE5}"/>
          </ac:spMkLst>
        </pc:spChg>
        <pc:spChg chg="mod ord">
          <ac:chgData name="Richardson Concha, Luis Enrique" userId="24a26401-76f9-4f62-bb1e-7d6980a282dd" providerId="ADAL" clId="{8E78D5C7-540C-4C79-A382-5D3B51477800}" dt="2024-06-06T17:58:48.679" v="2365"/>
          <ac:spMkLst>
            <pc:docMk/>
            <pc:sldMk cId="1787597933" sldId="2709"/>
            <ac:spMk id="36" creationId="{F9506A3C-ED6C-864E-946A-28D52CFBE7C1}"/>
          </ac:spMkLst>
        </pc:spChg>
        <pc:graphicFrameChg chg="mod">
          <ac:chgData name="Richardson Concha, Luis Enrique" userId="24a26401-76f9-4f62-bb1e-7d6980a282dd" providerId="ADAL" clId="{8E78D5C7-540C-4C79-A382-5D3B51477800}" dt="2024-06-06T17:58:48.682" v="2373"/>
          <ac:graphicFrameMkLst>
            <pc:docMk/>
            <pc:sldMk cId="1787597933" sldId="2709"/>
            <ac:graphicFrameMk id="6" creationId="{7916D848-0D74-682B-2059-D4867C0BDEEE}"/>
          </ac:graphicFrameMkLst>
        </pc:graphicFrameChg>
        <pc:picChg chg="mod ord">
          <ac:chgData name="Richardson Concha, Luis Enrique" userId="24a26401-76f9-4f62-bb1e-7d6980a282dd" providerId="ADAL" clId="{8E78D5C7-540C-4C79-A382-5D3B51477800}" dt="2024-06-06T17:58:48.680" v="2369"/>
          <ac:picMkLst>
            <pc:docMk/>
            <pc:sldMk cId="1787597933" sldId="2709"/>
            <ac:picMk id="3" creationId="{E326459A-0391-08B7-78AF-F69E865FCF45}"/>
          </ac:picMkLst>
        </pc:picChg>
        <pc:picChg chg="add del mod">
          <ac:chgData name="Richardson Concha, Luis Enrique" userId="24a26401-76f9-4f62-bb1e-7d6980a282dd" providerId="ADAL" clId="{8E78D5C7-540C-4C79-A382-5D3B51477800}" dt="2024-06-06T17:52:35.230" v="2246" actId="21"/>
          <ac:picMkLst>
            <pc:docMk/>
            <pc:sldMk cId="1787597933" sldId="2709"/>
            <ac:picMk id="4" creationId="{8BE2193D-2662-AB23-F30A-8AD4065D1C83}"/>
          </ac:picMkLst>
        </pc:picChg>
        <pc:picChg chg="del mod ord">
          <ac:chgData name="Richardson Concha, Luis Enrique" userId="24a26401-76f9-4f62-bb1e-7d6980a282dd" providerId="ADAL" clId="{8E78D5C7-540C-4C79-A382-5D3B51477800}" dt="2024-06-06T17:58:50.334" v="2374" actId="478"/>
          <ac:picMkLst>
            <pc:docMk/>
            <pc:sldMk cId="1787597933" sldId="2709"/>
            <ac:picMk id="5" creationId="{00000000-0000-0000-0000-000000000000}"/>
          </ac:picMkLst>
        </pc:picChg>
        <pc:picChg chg="add mod ord modCrop">
          <ac:chgData name="Richardson Concha, Luis Enrique" userId="24a26401-76f9-4f62-bb1e-7d6980a282dd" providerId="ADAL" clId="{8E78D5C7-540C-4C79-A382-5D3B51477800}" dt="2024-06-06T17:58:48.678" v="2361"/>
          <ac:picMkLst>
            <pc:docMk/>
            <pc:sldMk cId="1787597933" sldId="2709"/>
            <ac:picMk id="8" creationId="{21FD04E7-771C-AC39-B212-AC909C50B9CF}"/>
          </ac:picMkLst>
        </pc:picChg>
      </pc:sldChg>
      <pc:sldChg chg="addSp delSp modSp add mod ord replTag delTag">
        <pc:chgData name="Richardson Concha, Luis Enrique" userId="24a26401-76f9-4f62-bb1e-7d6980a282dd" providerId="ADAL" clId="{8E78D5C7-540C-4C79-A382-5D3B51477800}" dt="2024-06-06T21:17:58.497" v="2998"/>
        <pc:sldMkLst>
          <pc:docMk/>
          <pc:sldMk cId="1866197655" sldId="2710"/>
        </pc:sldMkLst>
        <pc:spChg chg="mod ord">
          <ac:chgData name="Richardson Concha, Luis Enrique" userId="24a26401-76f9-4f62-bb1e-7d6980a282dd" providerId="ADAL" clId="{8E78D5C7-540C-4C79-A382-5D3B51477800}" dt="2024-06-06T18:03:06.452" v="2402"/>
          <ac:spMkLst>
            <pc:docMk/>
            <pc:sldMk cId="1866197655" sldId="2710"/>
            <ac:spMk id="17" creationId="{BFBD94C6-FF5E-924E-A4E6-F9CEF0E1FFE5}"/>
          </ac:spMkLst>
        </pc:spChg>
        <pc:spChg chg="mod ord">
          <ac:chgData name="Richardson Concha, Luis Enrique" userId="24a26401-76f9-4f62-bb1e-7d6980a282dd" providerId="ADAL" clId="{8E78D5C7-540C-4C79-A382-5D3B51477800}" dt="2024-06-06T18:03:06.451" v="2400"/>
          <ac:spMkLst>
            <pc:docMk/>
            <pc:sldMk cId="1866197655" sldId="2710"/>
            <ac:spMk id="36" creationId="{F9506A3C-ED6C-864E-946A-28D52CFBE7C1}"/>
          </ac:spMkLst>
        </pc:spChg>
        <pc:graphicFrameChg chg="mod">
          <ac:chgData name="Richardson Concha, Luis Enrique" userId="24a26401-76f9-4f62-bb1e-7d6980a282dd" providerId="ADAL" clId="{8E78D5C7-540C-4C79-A382-5D3B51477800}" dt="2024-06-06T18:03:06.455" v="2408"/>
          <ac:graphicFrameMkLst>
            <pc:docMk/>
            <pc:sldMk cId="1866197655" sldId="2710"/>
            <ac:graphicFrameMk id="6" creationId="{7916D848-0D74-682B-2059-D4867C0BDEEE}"/>
          </ac:graphicFrameMkLst>
        </pc:graphicFrameChg>
        <pc:picChg chg="mod ord">
          <ac:chgData name="Richardson Concha, Luis Enrique" userId="24a26401-76f9-4f62-bb1e-7d6980a282dd" providerId="ADAL" clId="{8E78D5C7-540C-4C79-A382-5D3B51477800}" dt="2024-06-06T18:03:06.452" v="2404"/>
          <ac:picMkLst>
            <pc:docMk/>
            <pc:sldMk cId="1866197655" sldId="2710"/>
            <ac:picMk id="3" creationId="{E326459A-0391-08B7-78AF-F69E865FCF45}"/>
          </ac:picMkLst>
        </pc:picChg>
        <pc:picChg chg="add mod ord modCrop">
          <ac:chgData name="Richardson Concha, Luis Enrique" userId="24a26401-76f9-4f62-bb1e-7d6980a282dd" providerId="ADAL" clId="{8E78D5C7-540C-4C79-A382-5D3B51477800}" dt="2024-06-06T18:03:06.450" v="2396"/>
          <ac:picMkLst>
            <pc:docMk/>
            <pc:sldMk cId="1866197655" sldId="2710"/>
            <ac:picMk id="4" creationId="{F8629B54-58CD-2B72-F34F-AB5E26C29EDF}"/>
          </ac:picMkLst>
        </pc:picChg>
        <pc:picChg chg="del mod ord">
          <ac:chgData name="Richardson Concha, Luis Enrique" userId="24a26401-76f9-4f62-bb1e-7d6980a282dd" providerId="ADAL" clId="{8E78D5C7-540C-4C79-A382-5D3B51477800}" dt="2024-06-06T18:03:07.710" v="2409" actId="478"/>
          <ac:picMkLst>
            <pc:docMk/>
            <pc:sldMk cId="1866197655" sldId="2710"/>
            <ac:picMk id="5" creationId="{00000000-0000-0000-0000-000000000000}"/>
          </ac:picMkLst>
        </pc:picChg>
      </pc:sldChg>
      <pc:sldChg chg="del replTag delTag">
        <pc:chgData name="Richardson Concha, Luis Enrique" userId="24a26401-76f9-4f62-bb1e-7d6980a282dd" providerId="ADAL" clId="{8E78D5C7-540C-4C79-A382-5D3B51477800}" dt="2024-06-05T20:28:34.466" v="257" actId="47"/>
        <pc:sldMkLst>
          <pc:docMk/>
          <pc:sldMk cId="2868442445" sldId="2710"/>
        </pc:sldMkLst>
      </pc:sldChg>
      <pc:sldChg chg="del replTag delTag">
        <pc:chgData name="Richardson Concha, Luis Enrique" userId="24a26401-76f9-4f62-bb1e-7d6980a282dd" providerId="ADAL" clId="{8E78D5C7-540C-4C79-A382-5D3B51477800}" dt="2024-06-05T20:28:35.079" v="262" actId="47"/>
        <pc:sldMkLst>
          <pc:docMk/>
          <pc:sldMk cId="1023869374" sldId="2711"/>
        </pc:sldMkLst>
      </pc:sldChg>
      <pc:sldChg chg="addSp delSp modSp add mod ord replTag delTag">
        <pc:chgData name="Richardson Concha, Luis Enrique" userId="24a26401-76f9-4f62-bb1e-7d6980a282dd" providerId="ADAL" clId="{8E78D5C7-540C-4C79-A382-5D3B51477800}" dt="2024-06-06T21:18:13.554" v="3000"/>
        <pc:sldMkLst>
          <pc:docMk/>
          <pc:sldMk cId="1181429919" sldId="2711"/>
        </pc:sldMkLst>
        <pc:spChg chg="mod">
          <ac:chgData name="Richardson Concha, Luis Enrique" userId="24a26401-76f9-4f62-bb1e-7d6980a282dd" providerId="ADAL" clId="{8E78D5C7-540C-4C79-A382-5D3B51477800}" dt="2024-06-05T21:41:23.828" v="961" actId="33524"/>
          <ac:spMkLst>
            <pc:docMk/>
            <pc:sldMk cId="1181429919" sldId="2711"/>
            <ac:spMk id="36" creationId="{F9506A3C-ED6C-864E-946A-28D52CFBE7C1}"/>
          </ac:spMkLst>
        </pc:spChg>
        <pc:grpChg chg="add mod">
          <ac:chgData name="Richardson Concha, Luis Enrique" userId="24a26401-76f9-4f62-bb1e-7d6980a282dd" providerId="ADAL" clId="{8E78D5C7-540C-4C79-A382-5D3B51477800}" dt="2024-06-06T18:16:23.446" v="2470" actId="1076"/>
          <ac:grpSpMkLst>
            <pc:docMk/>
            <pc:sldMk cId="1181429919" sldId="2711"/>
            <ac:grpSpMk id="4" creationId="{A791C0B7-5F96-12F4-1000-04B27F2DA345}"/>
          </ac:grpSpMkLst>
        </pc:grpChg>
        <pc:picChg chg="add mod">
          <ac:chgData name="Richardson Concha, Luis Enrique" userId="24a26401-76f9-4f62-bb1e-7d6980a282dd" providerId="ADAL" clId="{8E78D5C7-540C-4C79-A382-5D3B51477800}" dt="2024-06-06T18:16:23.446" v="2470" actId="1076"/>
          <ac:picMkLst>
            <pc:docMk/>
            <pc:sldMk cId="1181429919" sldId="2711"/>
            <ac:picMk id="2" creationId="{8CFA7EA3-6F17-7C23-ACFC-8369B1816B92}"/>
          </ac:picMkLst>
        </pc:picChg>
        <pc:picChg chg="del">
          <ac:chgData name="Richardson Concha, Luis Enrique" userId="24a26401-76f9-4f62-bb1e-7d6980a282dd" providerId="ADAL" clId="{8E78D5C7-540C-4C79-A382-5D3B51477800}" dt="2024-06-06T18:16:08.942" v="2468" actId="478"/>
          <ac:picMkLst>
            <pc:docMk/>
            <pc:sldMk cId="1181429919" sldId="2711"/>
            <ac:picMk id="5" creationId="{00000000-0000-0000-0000-000000000000}"/>
          </ac:picMkLst>
        </pc:picChg>
        <pc:picChg chg="add mod">
          <ac:chgData name="Richardson Concha, Luis Enrique" userId="24a26401-76f9-4f62-bb1e-7d6980a282dd" providerId="ADAL" clId="{8E78D5C7-540C-4C79-A382-5D3B51477800}" dt="2024-06-06T18:16:23.446" v="2470" actId="1076"/>
          <ac:picMkLst>
            <pc:docMk/>
            <pc:sldMk cId="1181429919" sldId="2711"/>
            <ac:picMk id="4098" creationId="{791036D2-4313-F640-8474-D1168D285645}"/>
          </ac:picMkLst>
        </pc:picChg>
      </pc:sldChg>
      <pc:sldChg chg="addSp delSp modSp add mod replTag delTag">
        <pc:chgData name="Richardson Concha, Luis Enrique" userId="24a26401-76f9-4f62-bb1e-7d6980a282dd" providerId="ADAL" clId="{8E78D5C7-540C-4C79-A382-5D3B51477800}" dt="2024-06-06T21:18:15.412" v="3002"/>
        <pc:sldMkLst>
          <pc:docMk/>
          <pc:sldMk cId="513896579" sldId="2712"/>
        </pc:sldMkLst>
        <pc:spChg chg="mod ord">
          <ac:chgData name="Richardson Concha, Luis Enrique" userId="24a26401-76f9-4f62-bb1e-7d6980a282dd" providerId="ADAL" clId="{8E78D5C7-540C-4C79-A382-5D3B51477800}" dt="2024-06-06T18:05:44.251" v="2450"/>
          <ac:spMkLst>
            <pc:docMk/>
            <pc:sldMk cId="513896579" sldId="2712"/>
            <ac:spMk id="17" creationId="{BFBD94C6-FF5E-924E-A4E6-F9CEF0E1FFE5}"/>
          </ac:spMkLst>
        </pc:spChg>
        <pc:spChg chg="mod ord">
          <ac:chgData name="Richardson Concha, Luis Enrique" userId="24a26401-76f9-4f62-bb1e-7d6980a282dd" providerId="ADAL" clId="{8E78D5C7-540C-4C79-A382-5D3B51477800}" dt="2024-06-06T18:05:44.250" v="2448"/>
          <ac:spMkLst>
            <pc:docMk/>
            <pc:sldMk cId="513896579" sldId="2712"/>
            <ac:spMk id="36" creationId="{F9506A3C-ED6C-864E-946A-28D52CFBE7C1}"/>
          </ac:spMkLst>
        </pc:spChg>
        <pc:graphicFrameChg chg="mod">
          <ac:chgData name="Richardson Concha, Luis Enrique" userId="24a26401-76f9-4f62-bb1e-7d6980a282dd" providerId="ADAL" clId="{8E78D5C7-540C-4C79-A382-5D3B51477800}" dt="2024-06-06T18:05:44.254" v="2456"/>
          <ac:graphicFrameMkLst>
            <pc:docMk/>
            <pc:sldMk cId="513896579" sldId="2712"/>
            <ac:graphicFrameMk id="6" creationId="{7916D848-0D74-682B-2059-D4867C0BDEEE}"/>
          </ac:graphicFrameMkLst>
        </pc:graphicFrameChg>
        <pc:picChg chg="mod ord">
          <ac:chgData name="Richardson Concha, Luis Enrique" userId="24a26401-76f9-4f62-bb1e-7d6980a282dd" providerId="ADAL" clId="{8E78D5C7-540C-4C79-A382-5D3B51477800}" dt="2024-06-06T18:05:44.251" v="2452"/>
          <ac:picMkLst>
            <pc:docMk/>
            <pc:sldMk cId="513896579" sldId="2712"/>
            <ac:picMk id="3" creationId="{E326459A-0391-08B7-78AF-F69E865FCF45}"/>
          </ac:picMkLst>
        </pc:picChg>
        <pc:picChg chg="add mod ord modCrop">
          <ac:chgData name="Richardson Concha, Luis Enrique" userId="24a26401-76f9-4f62-bb1e-7d6980a282dd" providerId="ADAL" clId="{8E78D5C7-540C-4C79-A382-5D3B51477800}" dt="2024-06-06T18:05:44.249" v="2444"/>
          <ac:picMkLst>
            <pc:docMk/>
            <pc:sldMk cId="513896579" sldId="2712"/>
            <ac:picMk id="4" creationId="{D7E9949E-072B-937E-7C23-8EBEA3BFD27D}"/>
          </ac:picMkLst>
        </pc:picChg>
        <pc:picChg chg="del mod ord">
          <ac:chgData name="Richardson Concha, Luis Enrique" userId="24a26401-76f9-4f62-bb1e-7d6980a282dd" providerId="ADAL" clId="{8E78D5C7-540C-4C79-A382-5D3B51477800}" dt="2024-06-06T18:05:45.857" v="2457" actId="478"/>
          <ac:picMkLst>
            <pc:docMk/>
            <pc:sldMk cId="513896579" sldId="2712"/>
            <ac:picMk id="5" creationId="{00000000-0000-0000-0000-000000000000}"/>
          </ac:picMkLst>
        </pc:picChg>
      </pc:sldChg>
      <pc:sldChg chg="del replTag delTag">
        <pc:chgData name="Richardson Concha, Luis Enrique" userId="24a26401-76f9-4f62-bb1e-7d6980a282dd" providerId="ADAL" clId="{8E78D5C7-540C-4C79-A382-5D3B51477800}" dt="2024-06-05T20:28:35.772" v="267" actId="47"/>
        <pc:sldMkLst>
          <pc:docMk/>
          <pc:sldMk cId="3788147483" sldId="2712"/>
        </pc:sldMkLst>
      </pc:sldChg>
      <pc:sldChg chg="del replTag delTag">
        <pc:chgData name="Richardson Concha, Luis Enrique" userId="24a26401-76f9-4f62-bb1e-7d6980a282dd" providerId="ADAL" clId="{8E78D5C7-540C-4C79-A382-5D3B51477800}" dt="2024-06-05T20:28:39.734" v="272" actId="47"/>
        <pc:sldMkLst>
          <pc:docMk/>
          <pc:sldMk cId="1560505940" sldId="2713"/>
        </pc:sldMkLst>
      </pc:sldChg>
      <pc:sldChg chg="addSp delSp modSp add mod replTag delTag">
        <pc:chgData name="Richardson Concha, Luis Enrique" userId="24a26401-76f9-4f62-bb1e-7d6980a282dd" providerId="ADAL" clId="{8E78D5C7-540C-4C79-A382-5D3B51477800}" dt="2024-06-06T21:18:16.174" v="3004"/>
        <pc:sldMkLst>
          <pc:docMk/>
          <pc:sldMk cId="4004145649" sldId="2713"/>
        </pc:sldMkLst>
        <pc:spChg chg="mod ord">
          <ac:chgData name="Richardson Concha, Luis Enrique" userId="24a26401-76f9-4f62-bb1e-7d6980a282dd" providerId="ADAL" clId="{8E78D5C7-540C-4C79-A382-5D3B51477800}" dt="2024-06-06T18:17:36.797" v="2495"/>
          <ac:spMkLst>
            <pc:docMk/>
            <pc:sldMk cId="4004145649" sldId="2713"/>
            <ac:spMk id="17" creationId="{BFBD94C6-FF5E-924E-A4E6-F9CEF0E1FFE5}"/>
          </ac:spMkLst>
        </pc:spChg>
        <pc:spChg chg="mod ord">
          <ac:chgData name="Richardson Concha, Luis Enrique" userId="24a26401-76f9-4f62-bb1e-7d6980a282dd" providerId="ADAL" clId="{8E78D5C7-540C-4C79-A382-5D3B51477800}" dt="2024-06-06T18:17:36.796" v="2493"/>
          <ac:spMkLst>
            <pc:docMk/>
            <pc:sldMk cId="4004145649" sldId="2713"/>
            <ac:spMk id="36" creationId="{F9506A3C-ED6C-864E-946A-28D52CFBE7C1}"/>
          </ac:spMkLst>
        </pc:spChg>
        <pc:graphicFrameChg chg="mod">
          <ac:chgData name="Richardson Concha, Luis Enrique" userId="24a26401-76f9-4f62-bb1e-7d6980a282dd" providerId="ADAL" clId="{8E78D5C7-540C-4C79-A382-5D3B51477800}" dt="2024-06-06T18:17:36.800" v="2501"/>
          <ac:graphicFrameMkLst>
            <pc:docMk/>
            <pc:sldMk cId="4004145649" sldId="2713"/>
            <ac:graphicFrameMk id="6" creationId="{7916D848-0D74-682B-2059-D4867C0BDEEE}"/>
          </ac:graphicFrameMkLst>
        </pc:graphicFrameChg>
        <pc:picChg chg="mod ord">
          <ac:chgData name="Richardson Concha, Luis Enrique" userId="24a26401-76f9-4f62-bb1e-7d6980a282dd" providerId="ADAL" clId="{8E78D5C7-540C-4C79-A382-5D3B51477800}" dt="2024-06-06T18:17:36.797" v="2497"/>
          <ac:picMkLst>
            <pc:docMk/>
            <pc:sldMk cId="4004145649" sldId="2713"/>
            <ac:picMk id="3" creationId="{E326459A-0391-08B7-78AF-F69E865FCF45}"/>
          </ac:picMkLst>
        </pc:picChg>
        <pc:picChg chg="del mod ord">
          <ac:chgData name="Richardson Concha, Luis Enrique" userId="24a26401-76f9-4f62-bb1e-7d6980a282dd" providerId="ADAL" clId="{8E78D5C7-540C-4C79-A382-5D3B51477800}" dt="2024-06-06T18:17:38.142" v="2502" actId="478"/>
          <ac:picMkLst>
            <pc:docMk/>
            <pc:sldMk cId="4004145649" sldId="2713"/>
            <ac:picMk id="5" creationId="{00000000-0000-0000-0000-000000000000}"/>
          </ac:picMkLst>
        </pc:picChg>
        <pc:picChg chg="add mod">
          <ac:chgData name="Richardson Concha, Luis Enrique" userId="24a26401-76f9-4f62-bb1e-7d6980a282dd" providerId="ADAL" clId="{8E78D5C7-540C-4C79-A382-5D3B51477800}" dt="2024-06-06T18:17:36.795" v="2489"/>
          <ac:picMkLst>
            <pc:docMk/>
            <pc:sldMk cId="4004145649" sldId="2713"/>
            <ac:picMk id="5122" creationId="{1E258EEC-9FF0-30CB-9ED6-F058FAAEB2D6}"/>
          </ac:picMkLst>
        </pc:picChg>
      </pc:sldChg>
      <pc:sldChg chg="del replTag delTag">
        <pc:chgData name="Richardson Concha, Luis Enrique" userId="24a26401-76f9-4f62-bb1e-7d6980a282dd" providerId="ADAL" clId="{8E78D5C7-540C-4C79-A382-5D3B51477800}" dt="2024-06-05T20:28:40.364" v="277" actId="47"/>
        <pc:sldMkLst>
          <pc:docMk/>
          <pc:sldMk cId="907430805" sldId="2714"/>
        </pc:sldMkLst>
      </pc:sldChg>
      <pc:sldChg chg="addSp delSp modSp add mod ord replTag delTag">
        <pc:chgData name="Richardson Concha, Luis Enrique" userId="24a26401-76f9-4f62-bb1e-7d6980a282dd" providerId="ADAL" clId="{8E78D5C7-540C-4C79-A382-5D3B51477800}" dt="2024-06-06T21:18:19.449" v="3008"/>
        <pc:sldMkLst>
          <pc:docMk/>
          <pc:sldMk cId="1609023265" sldId="2714"/>
        </pc:sldMkLst>
        <pc:spChg chg="mod ord">
          <ac:chgData name="Richardson Concha, Luis Enrique" userId="24a26401-76f9-4f62-bb1e-7d6980a282dd" providerId="ADAL" clId="{8E78D5C7-540C-4C79-A382-5D3B51477800}" dt="2024-06-06T18:20:35.293" v="2533"/>
          <ac:spMkLst>
            <pc:docMk/>
            <pc:sldMk cId="1609023265" sldId="2714"/>
            <ac:spMk id="17" creationId="{BFBD94C6-FF5E-924E-A4E6-F9CEF0E1FFE5}"/>
          </ac:spMkLst>
        </pc:spChg>
        <pc:spChg chg="mod ord">
          <ac:chgData name="Richardson Concha, Luis Enrique" userId="24a26401-76f9-4f62-bb1e-7d6980a282dd" providerId="ADAL" clId="{8E78D5C7-540C-4C79-A382-5D3B51477800}" dt="2024-06-06T18:20:35.292" v="2531"/>
          <ac:spMkLst>
            <pc:docMk/>
            <pc:sldMk cId="1609023265" sldId="2714"/>
            <ac:spMk id="36" creationId="{F9506A3C-ED6C-864E-946A-28D52CFBE7C1}"/>
          </ac:spMkLst>
        </pc:spChg>
        <pc:graphicFrameChg chg="mod">
          <ac:chgData name="Richardson Concha, Luis Enrique" userId="24a26401-76f9-4f62-bb1e-7d6980a282dd" providerId="ADAL" clId="{8E78D5C7-540C-4C79-A382-5D3B51477800}" dt="2024-06-06T18:20:35.296" v="2539"/>
          <ac:graphicFrameMkLst>
            <pc:docMk/>
            <pc:sldMk cId="1609023265" sldId="2714"/>
            <ac:graphicFrameMk id="6" creationId="{7916D848-0D74-682B-2059-D4867C0BDEEE}"/>
          </ac:graphicFrameMkLst>
        </pc:graphicFrameChg>
        <pc:picChg chg="mod ord">
          <ac:chgData name="Richardson Concha, Luis Enrique" userId="24a26401-76f9-4f62-bb1e-7d6980a282dd" providerId="ADAL" clId="{8E78D5C7-540C-4C79-A382-5D3B51477800}" dt="2024-06-06T18:20:35.293" v="2535"/>
          <ac:picMkLst>
            <pc:docMk/>
            <pc:sldMk cId="1609023265" sldId="2714"/>
            <ac:picMk id="3" creationId="{E326459A-0391-08B7-78AF-F69E865FCF45}"/>
          </ac:picMkLst>
        </pc:picChg>
        <pc:picChg chg="del mod ord">
          <ac:chgData name="Richardson Concha, Luis Enrique" userId="24a26401-76f9-4f62-bb1e-7d6980a282dd" providerId="ADAL" clId="{8E78D5C7-540C-4C79-A382-5D3B51477800}" dt="2024-06-06T18:20:36.686" v="2540" actId="478"/>
          <ac:picMkLst>
            <pc:docMk/>
            <pc:sldMk cId="1609023265" sldId="2714"/>
            <ac:picMk id="5" creationId="{00000000-0000-0000-0000-000000000000}"/>
          </ac:picMkLst>
        </pc:picChg>
        <pc:picChg chg="add mod">
          <ac:chgData name="Richardson Concha, Luis Enrique" userId="24a26401-76f9-4f62-bb1e-7d6980a282dd" providerId="ADAL" clId="{8E78D5C7-540C-4C79-A382-5D3B51477800}" dt="2024-06-06T18:20:35.291" v="2527"/>
          <ac:picMkLst>
            <pc:docMk/>
            <pc:sldMk cId="1609023265" sldId="2714"/>
            <ac:picMk id="6146" creationId="{16F75018-C5A9-CDD9-AF2D-596B5A63472B}"/>
          </ac:picMkLst>
        </pc:picChg>
      </pc:sldChg>
      <pc:sldChg chg="addSp delSp modSp add mod ord replTag delTag">
        <pc:chgData name="Richardson Concha, Luis Enrique" userId="24a26401-76f9-4f62-bb1e-7d6980a282dd" providerId="ADAL" clId="{8E78D5C7-540C-4C79-A382-5D3B51477800}" dt="2024-06-06T21:19:21.029" v="3010"/>
        <pc:sldMkLst>
          <pc:docMk/>
          <pc:sldMk cId="2831020269" sldId="2715"/>
        </pc:sldMkLst>
        <pc:spChg chg="mod ord">
          <ac:chgData name="Richardson Concha, Luis Enrique" userId="24a26401-76f9-4f62-bb1e-7d6980a282dd" providerId="ADAL" clId="{8E78D5C7-540C-4C79-A382-5D3B51477800}" dt="2024-06-06T18:23:56.148" v="2561"/>
          <ac:spMkLst>
            <pc:docMk/>
            <pc:sldMk cId="2831020269" sldId="2715"/>
            <ac:spMk id="17" creationId="{BFBD94C6-FF5E-924E-A4E6-F9CEF0E1FFE5}"/>
          </ac:spMkLst>
        </pc:spChg>
        <pc:spChg chg="mod ord">
          <ac:chgData name="Richardson Concha, Luis Enrique" userId="24a26401-76f9-4f62-bb1e-7d6980a282dd" providerId="ADAL" clId="{8E78D5C7-540C-4C79-A382-5D3B51477800}" dt="2024-06-06T18:23:56.147" v="2559"/>
          <ac:spMkLst>
            <pc:docMk/>
            <pc:sldMk cId="2831020269" sldId="2715"/>
            <ac:spMk id="36" creationId="{F9506A3C-ED6C-864E-946A-28D52CFBE7C1}"/>
          </ac:spMkLst>
        </pc:spChg>
        <pc:graphicFrameChg chg="mod">
          <ac:chgData name="Richardson Concha, Luis Enrique" userId="24a26401-76f9-4f62-bb1e-7d6980a282dd" providerId="ADAL" clId="{8E78D5C7-540C-4C79-A382-5D3B51477800}" dt="2024-06-06T18:23:56.151" v="2567"/>
          <ac:graphicFrameMkLst>
            <pc:docMk/>
            <pc:sldMk cId="2831020269" sldId="2715"/>
            <ac:graphicFrameMk id="6" creationId="{7916D848-0D74-682B-2059-D4867C0BDEEE}"/>
          </ac:graphicFrameMkLst>
        </pc:graphicFrameChg>
        <pc:picChg chg="mod ord">
          <ac:chgData name="Richardson Concha, Luis Enrique" userId="24a26401-76f9-4f62-bb1e-7d6980a282dd" providerId="ADAL" clId="{8E78D5C7-540C-4C79-A382-5D3B51477800}" dt="2024-06-06T18:23:56.148" v="2563"/>
          <ac:picMkLst>
            <pc:docMk/>
            <pc:sldMk cId="2831020269" sldId="2715"/>
            <ac:picMk id="3" creationId="{E326459A-0391-08B7-78AF-F69E865FCF45}"/>
          </ac:picMkLst>
        </pc:picChg>
        <pc:picChg chg="add mod ord modCrop">
          <ac:chgData name="Richardson Concha, Luis Enrique" userId="24a26401-76f9-4f62-bb1e-7d6980a282dd" providerId="ADAL" clId="{8E78D5C7-540C-4C79-A382-5D3B51477800}" dt="2024-06-06T18:23:56.146" v="2555"/>
          <ac:picMkLst>
            <pc:docMk/>
            <pc:sldMk cId="2831020269" sldId="2715"/>
            <ac:picMk id="4" creationId="{BD7A5D5F-32EB-C02B-9D53-7190B64DA9F9}"/>
          </ac:picMkLst>
        </pc:picChg>
        <pc:picChg chg="del mod ord">
          <ac:chgData name="Richardson Concha, Luis Enrique" userId="24a26401-76f9-4f62-bb1e-7d6980a282dd" providerId="ADAL" clId="{8E78D5C7-540C-4C79-A382-5D3B51477800}" dt="2024-06-06T18:23:57.452" v="2568" actId="478"/>
          <ac:picMkLst>
            <pc:docMk/>
            <pc:sldMk cId="2831020269" sldId="2715"/>
            <ac:picMk id="5" creationId="{00000000-0000-0000-0000-000000000000}"/>
          </ac:picMkLst>
        </pc:picChg>
      </pc:sldChg>
      <pc:sldChg chg="del replTag delTag">
        <pc:chgData name="Richardson Concha, Luis Enrique" userId="24a26401-76f9-4f62-bb1e-7d6980a282dd" providerId="ADAL" clId="{8E78D5C7-540C-4C79-A382-5D3B51477800}" dt="2024-06-05T20:28:40.992" v="282" actId="47"/>
        <pc:sldMkLst>
          <pc:docMk/>
          <pc:sldMk cId="2986248088" sldId="2715"/>
        </pc:sldMkLst>
      </pc:sldChg>
      <pc:sldChg chg="addSp delSp modSp add mod ord replTag delTag">
        <pc:chgData name="Richardson Concha, Luis Enrique" userId="24a26401-76f9-4f62-bb1e-7d6980a282dd" providerId="ADAL" clId="{8E78D5C7-540C-4C79-A382-5D3B51477800}" dt="2024-06-06T21:19:24.814" v="3014"/>
        <pc:sldMkLst>
          <pc:docMk/>
          <pc:sldMk cId="657771450" sldId="2716"/>
        </pc:sldMkLst>
        <pc:spChg chg="mod ord">
          <ac:chgData name="Richardson Concha, Luis Enrique" userId="24a26401-76f9-4f62-bb1e-7d6980a282dd" providerId="ADAL" clId="{8E78D5C7-540C-4C79-A382-5D3B51477800}" dt="2024-06-06T17:53:15.595" v="2276"/>
          <ac:spMkLst>
            <pc:docMk/>
            <pc:sldMk cId="657771450" sldId="2716"/>
            <ac:spMk id="17" creationId="{BFBD94C6-FF5E-924E-A4E6-F9CEF0E1FFE5}"/>
          </ac:spMkLst>
        </pc:spChg>
        <pc:spChg chg="mod ord">
          <ac:chgData name="Richardson Concha, Luis Enrique" userId="24a26401-76f9-4f62-bb1e-7d6980a282dd" providerId="ADAL" clId="{8E78D5C7-540C-4C79-A382-5D3B51477800}" dt="2024-06-06T17:53:15.594" v="2274"/>
          <ac:spMkLst>
            <pc:docMk/>
            <pc:sldMk cId="657771450" sldId="2716"/>
            <ac:spMk id="36" creationId="{F9506A3C-ED6C-864E-946A-28D52CFBE7C1}"/>
          </ac:spMkLst>
        </pc:spChg>
        <pc:graphicFrameChg chg="mod">
          <ac:chgData name="Richardson Concha, Luis Enrique" userId="24a26401-76f9-4f62-bb1e-7d6980a282dd" providerId="ADAL" clId="{8E78D5C7-540C-4C79-A382-5D3B51477800}" dt="2024-06-06T17:53:15.599" v="2282"/>
          <ac:graphicFrameMkLst>
            <pc:docMk/>
            <pc:sldMk cId="657771450" sldId="2716"/>
            <ac:graphicFrameMk id="6" creationId="{7916D848-0D74-682B-2059-D4867C0BDEEE}"/>
          </ac:graphicFrameMkLst>
        </pc:graphicFrameChg>
        <pc:picChg chg="mod ord">
          <ac:chgData name="Richardson Concha, Luis Enrique" userId="24a26401-76f9-4f62-bb1e-7d6980a282dd" providerId="ADAL" clId="{8E78D5C7-540C-4C79-A382-5D3B51477800}" dt="2024-06-06T17:53:15.595" v="2278"/>
          <ac:picMkLst>
            <pc:docMk/>
            <pc:sldMk cId="657771450" sldId="2716"/>
            <ac:picMk id="3" creationId="{E326459A-0391-08B7-78AF-F69E865FCF45}"/>
          </ac:picMkLst>
        </pc:picChg>
        <pc:picChg chg="add mod ord modCrop">
          <ac:chgData name="Richardson Concha, Luis Enrique" userId="24a26401-76f9-4f62-bb1e-7d6980a282dd" providerId="ADAL" clId="{8E78D5C7-540C-4C79-A382-5D3B51477800}" dt="2024-06-06T17:53:15.593" v="2270"/>
          <ac:picMkLst>
            <pc:docMk/>
            <pc:sldMk cId="657771450" sldId="2716"/>
            <ac:picMk id="4" creationId="{8BE2193D-2662-AB23-F30A-8AD4065D1C83}"/>
          </ac:picMkLst>
        </pc:picChg>
        <pc:picChg chg="del mod ord">
          <ac:chgData name="Richardson Concha, Luis Enrique" userId="24a26401-76f9-4f62-bb1e-7d6980a282dd" providerId="ADAL" clId="{8E78D5C7-540C-4C79-A382-5D3B51477800}" dt="2024-06-06T17:53:16.946" v="2283" actId="478"/>
          <ac:picMkLst>
            <pc:docMk/>
            <pc:sldMk cId="657771450" sldId="2716"/>
            <ac:picMk id="5" creationId="{00000000-0000-0000-0000-000000000000}"/>
          </ac:picMkLst>
        </pc:picChg>
      </pc:sldChg>
      <pc:sldChg chg="del replTag delTag">
        <pc:chgData name="Richardson Concha, Luis Enrique" userId="24a26401-76f9-4f62-bb1e-7d6980a282dd" providerId="ADAL" clId="{8E78D5C7-540C-4C79-A382-5D3B51477800}" dt="2024-06-05T20:28:41.565" v="287" actId="47"/>
        <pc:sldMkLst>
          <pc:docMk/>
          <pc:sldMk cId="1126120352" sldId="2716"/>
        </pc:sldMkLst>
      </pc:sldChg>
      <pc:sldChg chg="del replTag delTag">
        <pc:chgData name="Richardson Concha, Luis Enrique" userId="24a26401-76f9-4f62-bb1e-7d6980a282dd" providerId="ADAL" clId="{8E78D5C7-540C-4C79-A382-5D3B51477800}" dt="2024-06-05T20:28:42.177" v="292" actId="47"/>
        <pc:sldMkLst>
          <pc:docMk/>
          <pc:sldMk cId="1789406642" sldId="2717"/>
        </pc:sldMkLst>
      </pc:sldChg>
      <pc:sldChg chg="addSp delSp modSp add mod ord replTag delTag">
        <pc:chgData name="Richardson Concha, Luis Enrique" userId="24a26401-76f9-4f62-bb1e-7d6980a282dd" providerId="ADAL" clId="{8E78D5C7-540C-4C79-A382-5D3B51477800}" dt="2024-06-06T21:20:32.692" v="3016"/>
        <pc:sldMkLst>
          <pc:docMk/>
          <pc:sldMk cId="2160954053" sldId="2717"/>
        </pc:sldMkLst>
        <pc:spChg chg="mod ord">
          <ac:chgData name="Richardson Concha, Luis Enrique" userId="24a26401-76f9-4f62-bb1e-7d6980a282dd" providerId="ADAL" clId="{8E78D5C7-540C-4C79-A382-5D3B51477800}" dt="2024-06-06T18:25:09.789" v="2588"/>
          <ac:spMkLst>
            <pc:docMk/>
            <pc:sldMk cId="2160954053" sldId="2717"/>
            <ac:spMk id="17" creationId="{BFBD94C6-FF5E-924E-A4E6-F9CEF0E1FFE5}"/>
          </ac:spMkLst>
        </pc:spChg>
        <pc:spChg chg="mod ord">
          <ac:chgData name="Richardson Concha, Luis Enrique" userId="24a26401-76f9-4f62-bb1e-7d6980a282dd" providerId="ADAL" clId="{8E78D5C7-540C-4C79-A382-5D3B51477800}" dt="2024-06-06T18:25:09.788" v="2586"/>
          <ac:spMkLst>
            <pc:docMk/>
            <pc:sldMk cId="2160954053" sldId="2717"/>
            <ac:spMk id="36" creationId="{F9506A3C-ED6C-864E-946A-28D52CFBE7C1}"/>
          </ac:spMkLst>
        </pc:spChg>
        <pc:graphicFrameChg chg="mod">
          <ac:chgData name="Richardson Concha, Luis Enrique" userId="24a26401-76f9-4f62-bb1e-7d6980a282dd" providerId="ADAL" clId="{8E78D5C7-540C-4C79-A382-5D3B51477800}" dt="2024-06-06T18:25:09.792" v="2594"/>
          <ac:graphicFrameMkLst>
            <pc:docMk/>
            <pc:sldMk cId="2160954053" sldId="2717"/>
            <ac:graphicFrameMk id="6" creationId="{7916D848-0D74-682B-2059-D4867C0BDEEE}"/>
          </ac:graphicFrameMkLst>
        </pc:graphicFrameChg>
        <pc:picChg chg="mod ord">
          <ac:chgData name="Richardson Concha, Luis Enrique" userId="24a26401-76f9-4f62-bb1e-7d6980a282dd" providerId="ADAL" clId="{8E78D5C7-540C-4C79-A382-5D3B51477800}" dt="2024-06-06T18:25:09.789" v="2590"/>
          <ac:picMkLst>
            <pc:docMk/>
            <pc:sldMk cId="2160954053" sldId="2717"/>
            <ac:picMk id="3" creationId="{E326459A-0391-08B7-78AF-F69E865FCF45}"/>
          </ac:picMkLst>
        </pc:picChg>
        <pc:picChg chg="add mod ord modCrop">
          <ac:chgData name="Richardson Concha, Luis Enrique" userId="24a26401-76f9-4f62-bb1e-7d6980a282dd" providerId="ADAL" clId="{8E78D5C7-540C-4C79-A382-5D3B51477800}" dt="2024-06-06T18:25:09.787" v="2582"/>
          <ac:picMkLst>
            <pc:docMk/>
            <pc:sldMk cId="2160954053" sldId="2717"/>
            <ac:picMk id="4" creationId="{C2B86E0F-9E9F-E2B2-A23A-5B513CC2FB06}"/>
          </ac:picMkLst>
        </pc:picChg>
        <pc:picChg chg="del mod ord">
          <ac:chgData name="Richardson Concha, Luis Enrique" userId="24a26401-76f9-4f62-bb1e-7d6980a282dd" providerId="ADAL" clId="{8E78D5C7-540C-4C79-A382-5D3B51477800}" dt="2024-06-06T18:25:10.958" v="2595" actId="478"/>
          <ac:picMkLst>
            <pc:docMk/>
            <pc:sldMk cId="2160954053" sldId="2717"/>
            <ac:picMk id="5" creationId="{00000000-0000-0000-0000-000000000000}"/>
          </ac:picMkLst>
        </pc:picChg>
      </pc:sldChg>
      <pc:sldChg chg="del replTag delTag">
        <pc:chgData name="Richardson Concha, Luis Enrique" userId="24a26401-76f9-4f62-bb1e-7d6980a282dd" providerId="ADAL" clId="{8E78D5C7-540C-4C79-A382-5D3B51477800}" dt="2024-06-05T20:28:42.911" v="297" actId="47"/>
        <pc:sldMkLst>
          <pc:docMk/>
          <pc:sldMk cId="348331493" sldId="2718"/>
        </pc:sldMkLst>
      </pc:sldChg>
      <pc:sldChg chg="addSp delSp modSp add mod ord replTag delTag">
        <pc:chgData name="Richardson Concha, Luis Enrique" userId="24a26401-76f9-4f62-bb1e-7d6980a282dd" providerId="ADAL" clId="{8E78D5C7-540C-4C79-A382-5D3B51477800}" dt="2024-06-06T21:20:39.971" v="3021" actId="20577"/>
        <pc:sldMkLst>
          <pc:docMk/>
          <pc:sldMk cId="1103997679" sldId="2718"/>
        </pc:sldMkLst>
        <pc:spChg chg="mod ord">
          <ac:chgData name="Richardson Concha, Luis Enrique" userId="24a26401-76f9-4f62-bb1e-7d6980a282dd" providerId="ADAL" clId="{8E78D5C7-540C-4C79-A382-5D3B51477800}" dt="2024-06-06T17:55:30.135" v="2304"/>
          <ac:spMkLst>
            <pc:docMk/>
            <pc:sldMk cId="1103997679" sldId="2718"/>
            <ac:spMk id="17" creationId="{BFBD94C6-FF5E-924E-A4E6-F9CEF0E1FFE5}"/>
          </ac:spMkLst>
        </pc:spChg>
        <pc:spChg chg="mod ord">
          <ac:chgData name="Richardson Concha, Luis Enrique" userId="24a26401-76f9-4f62-bb1e-7d6980a282dd" providerId="ADAL" clId="{8E78D5C7-540C-4C79-A382-5D3B51477800}" dt="2024-06-06T21:20:39.971" v="3021" actId="20577"/>
          <ac:spMkLst>
            <pc:docMk/>
            <pc:sldMk cId="1103997679" sldId="2718"/>
            <ac:spMk id="36" creationId="{F9506A3C-ED6C-864E-946A-28D52CFBE7C1}"/>
          </ac:spMkLst>
        </pc:spChg>
        <pc:graphicFrameChg chg="mod">
          <ac:chgData name="Richardson Concha, Luis Enrique" userId="24a26401-76f9-4f62-bb1e-7d6980a282dd" providerId="ADAL" clId="{8E78D5C7-540C-4C79-A382-5D3B51477800}" dt="2024-06-06T17:55:30.138" v="2310"/>
          <ac:graphicFrameMkLst>
            <pc:docMk/>
            <pc:sldMk cId="1103997679" sldId="2718"/>
            <ac:graphicFrameMk id="6" creationId="{7916D848-0D74-682B-2059-D4867C0BDEEE}"/>
          </ac:graphicFrameMkLst>
        </pc:graphicFrameChg>
        <pc:picChg chg="mod ord">
          <ac:chgData name="Richardson Concha, Luis Enrique" userId="24a26401-76f9-4f62-bb1e-7d6980a282dd" providerId="ADAL" clId="{8E78D5C7-540C-4C79-A382-5D3B51477800}" dt="2024-06-06T17:55:30.135" v="2306"/>
          <ac:picMkLst>
            <pc:docMk/>
            <pc:sldMk cId="1103997679" sldId="2718"/>
            <ac:picMk id="3" creationId="{E326459A-0391-08B7-78AF-F69E865FCF45}"/>
          </ac:picMkLst>
        </pc:picChg>
        <pc:picChg chg="del mod ord">
          <ac:chgData name="Richardson Concha, Luis Enrique" userId="24a26401-76f9-4f62-bb1e-7d6980a282dd" providerId="ADAL" clId="{8E78D5C7-540C-4C79-A382-5D3B51477800}" dt="2024-06-06T17:55:31.536" v="2311" actId="478"/>
          <ac:picMkLst>
            <pc:docMk/>
            <pc:sldMk cId="1103997679" sldId="2718"/>
            <ac:picMk id="5" creationId="{00000000-0000-0000-0000-000000000000}"/>
          </ac:picMkLst>
        </pc:picChg>
        <pc:picChg chg="add mod">
          <ac:chgData name="Richardson Concha, Luis Enrique" userId="24a26401-76f9-4f62-bb1e-7d6980a282dd" providerId="ADAL" clId="{8E78D5C7-540C-4C79-A382-5D3B51477800}" dt="2024-06-06T18:49:09.630" v="2926" actId="1366"/>
          <ac:picMkLst>
            <pc:docMk/>
            <pc:sldMk cId="1103997679" sldId="2718"/>
            <ac:picMk id="3074" creationId="{A70B44A8-3F60-7739-666C-8788076EFC3E}"/>
          </ac:picMkLst>
        </pc:picChg>
      </pc:sldChg>
      <pc:sldChg chg="del replTag delTag">
        <pc:chgData name="Richardson Concha, Luis Enrique" userId="24a26401-76f9-4f62-bb1e-7d6980a282dd" providerId="ADAL" clId="{8E78D5C7-540C-4C79-A382-5D3B51477800}" dt="2024-06-05T20:28:43.516" v="302" actId="47"/>
        <pc:sldMkLst>
          <pc:docMk/>
          <pc:sldMk cId="2946376700" sldId="2719"/>
        </pc:sldMkLst>
      </pc:sldChg>
      <pc:sldChg chg="addSp delSp modSp add mod ord replTag delTag">
        <pc:chgData name="Richardson Concha, Luis Enrique" userId="24a26401-76f9-4f62-bb1e-7d6980a282dd" providerId="ADAL" clId="{8E78D5C7-540C-4C79-A382-5D3B51477800}" dt="2024-06-06T18:49:23.179" v="2937"/>
        <pc:sldMkLst>
          <pc:docMk/>
          <pc:sldMk cId="3198956638" sldId="2719"/>
        </pc:sldMkLst>
        <pc:spChg chg="mod ord">
          <ac:chgData name="Richardson Concha, Luis Enrique" userId="24a26401-76f9-4f62-bb1e-7d6980a282dd" providerId="ADAL" clId="{8E78D5C7-540C-4C79-A382-5D3B51477800}" dt="2024-06-06T18:35:50.916" v="2681"/>
          <ac:spMkLst>
            <pc:docMk/>
            <pc:sldMk cId="3198956638" sldId="2719"/>
            <ac:spMk id="17" creationId="{BFBD94C6-FF5E-924E-A4E6-F9CEF0E1FFE5}"/>
          </ac:spMkLst>
        </pc:spChg>
        <pc:spChg chg="mod ord">
          <ac:chgData name="Richardson Concha, Luis Enrique" userId="24a26401-76f9-4f62-bb1e-7d6980a282dd" providerId="ADAL" clId="{8E78D5C7-540C-4C79-A382-5D3B51477800}" dt="2024-06-06T18:35:50.915" v="2679"/>
          <ac:spMkLst>
            <pc:docMk/>
            <pc:sldMk cId="3198956638" sldId="2719"/>
            <ac:spMk id="36" creationId="{F9506A3C-ED6C-864E-946A-28D52CFBE7C1}"/>
          </ac:spMkLst>
        </pc:spChg>
        <pc:graphicFrameChg chg="mod">
          <ac:chgData name="Richardson Concha, Luis Enrique" userId="24a26401-76f9-4f62-bb1e-7d6980a282dd" providerId="ADAL" clId="{8E78D5C7-540C-4C79-A382-5D3B51477800}" dt="2024-06-06T18:35:50.919" v="2687"/>
          <ac:graphicFrameMkLst>
            <pc:docMk/>
            <pc:sldMk cId="3198956638" sldId="2719"/>
            <ac:graphicFrameMk id="6" creationId="{7916D848-0D74-682B-2059-D4867C0BDEEE}"/>
          </ac:graphicFrameMkLst>
        </pc:graphicFrameChg>
        <pc:picChg chg="mod ord">
          <ac:chgData name="Richardson Concha, Luis Enrique" userId="24a26401-76f9-4f62-bb1e-7d6980a282dd" providerId="ADAL" clId="{8E78D5C7-540C-4C79-A382-5D3B51477800}" dt="2024-06-06T18:35:50.916" v="2683"/>
          <ac:picMkLst>
            <pc:docMk/>
            <pc:sldMk cId="3198956638" sldId="2719"/>
            <ac:picMk id="3" creationId="{E326459A-0391-08B7-78AF-F69E865FCF45}"/>
          </ac:picMkLst>
        </pc:picChg>
        <pc:picChg chg="del mod ord">
          <ac:chgData name="Richardson Concha, Luis Enrique" userId="24a26401-76f9-4f62-bb1e-7d6980a282dd" providerId="ADAL" clId="{8E78D5C7-540C-4C79-A382-5D3B51477800}" dt="2024-06-06T18:35:52.861" v="2688" actId="478"/>
          <ac:picMkLst>
            <pc:docMk/>
            <pc:sldMk cId="3198956638" sldId="2719"/>
            <ac:picMk id="5" creationId="{00000000-0000-0000-0000-000000000000}"/>
          </ac:picMkLst>
        </pc:picChg>
        <pc:picChg chg="add mod">
          <ac:chgData name="Richardson Concha, Luis Enrique" userId="24a26401-76f9-4f62-bb1e-7d6980a282dd" providerId="ADAL" clId="{8E78D5C7-540C-4C79-A382-5D3B51477800}" dt="2024-06-06T18:49:21.231" v="2933"/>
          <ac:picMkLst>
            <pc:docMk/>
            <pc:sldMk cId="3198956638" sldId="2719"/>
            <ac:picMk id="7170" creationId="{4C6F2DD4-9ADB-D522-E1AC-C372C0EF285A}"/>
          </ac:picMkLst>
        </pc:picChg>
      </pc:sldChg>
      <pc:sldChg chg="addSp delSp modSp add mod ord replTag delTag">
        <pc:chgData name="Richardson Concha, Luis Enrique" userId="24a26401-76f9-4f62-bb1e-7d6980a282dd" providerId="ADAL" clId="{8E78D5C7-540C-4C79-A382-5D3B51477800}" dt="2024-06-06T18:30:49.223" v="2658"/>
        <pc:sldMkLst>
          <pc:docMk/>
          <pc:sldMk cId="1208909269" sldId="2720"/>
        </pc:sldMkLst>
        <pc:spChg chg="mod ord">
          <ac:chgData name="Richardson Concha, Luis Enrique" userId="24a26401-76f9-4f62-bb1e-7d6980a282dd" providerId="ADAL" clId="{8E78D5C7-540C-4C79-A382-5D3B51477800}" dt="2024-06-06T18:27:18.220" v="2616"/>
          <ac:spMkLst>
            <pc:docMk/>
            <pc:sldMk cId="1208909269" sldId="2720"/>
            <ac:spMk id="17" creationId="{BFBD94C6-FF5E-924E-A4E6-F9CEF0E1FFE5}"/>
          </ac:spMkLst>
        </pc:spChg>
        <pc:spChg chg="mod ord">
          <ac:chgData name="Richardson Concha, Luis Enrique" userId="24a26401-76f9-4f62-bb1e-7d6980a282dd" providerId="ADAL" clId="{8E78D5C7-540C-4C79-A382-5D3B51477800}" dt="2024-06-06T18:27:18.220" v="2614"/>
          <ac:spMkLst>
            <pc:docMk/>
            <pc:sldMk cId="1208909269" sldId="2720"/>
            <ac:spMk id="36" creationId="{F9506A3C-ED6C-864E-946A-28D52CFBE7C1}"/>
          </ac:spMkLst>
        </pc:spChg>
        <pc:graphicFrameChg chg="mod">
          <ac:chgData name="Richardson Concha, Luis Enrique" userId="24a26401-76f9-4f62-bb1e-7d6980a282dd" providerId="ADAL" clId="{8E78D5C7-540C-4C79-A382-5D3B51477800}" dt="2024-06-06T18:27:18.223" v="2622"/>
          <ac:graphicFrameMkLst>
            <pc:docMk/>
            <pc:sldMk cId="1208909269" sldId="2720"/>
            <ac:graphicFrameMk id="6" creationId="{7916D848-0D74-682B-2059-D4867C0BDEEE}"/>
          </ac:graphicFrameMkLst>
        </pc:graphicFrameChg>
        <pc:picChg chg="mod ord">
          <ac:chgData name="Richardson Concha, Luis Enrique" userId="24a26401-76f9-4f62-bb1e-7d6980a282dd" providerId="ADAL" clId="{8E78D5C7-540C-4C79-A382-5D3B51477800}" dt="2024-06-06T18:27:18.220" v="2618"/>
          <ac:picMkLst>
            <pc:docMk/>
            <pc:sldMk cId="1208909269" sldId="2720"/>
            <ac:picMk id="3" creationId="{E326459A-0391-08B7-78AF-F69E865FCF45}"/>
          </ac:picMkLst>
        </pc:picChg>
        <pc:picChg chg="add mod ord modCrop">
          <ac:chgData name="Richardson Concha, Luis Enrique" userId="24a26401-76f9-4f62-bb1e-7d6980a282dd" providerId="ADAL" clId="{8E78D5C7-540C-4C79-A382-5D3B51477800}" dt="2024-06-06T18:27:18.219" v="2610"/>
          <ac:picMkLst>
            <pc:docMk/>
            <pc:sldMk cId="1208909269" sldId="2720"/>
            <ac:picMk id="4" creationId="{9F31C8ED-3AC5-9891-A13B-B3C9C9132FDF}"/>
          </ac:picMkLst>
        </pc:picChg>
        <pc:picChg chg="del mod ord">
          <ac:chgData name="Richardson Concha, Luis Enrique" userId="24a26401-76f9-4f62-bb1e-7d6980a282dd" providerId="ADAL" clId="{8E78D5C7-540C-4C79-A382-5D3B51477800}" dt="2024-06-06T18:27:19.534" v="2623" actId="478"/>
          <ac:picMkLst>
            <pc:docMk/>
            <pc:sldMk cId="1208909269" sldId="2720"/>
            <ac:picMk id="5" creationId="{00000000-0000-0000-0000-000000000000}"/>
          </ac:picMkLst>
        </pc:picChg>
      </pc:sldChg>
      <pc:sldChg chg="del replTag delTag">
        <pc:chgData name="Richardson Concha, Luis Enrique" userId="24a26401-76f9-4f62-bb1e-7d6980a282dd" providerId="ADAL" clId="{8E78D5C7-540C-4C79-A382-5D3B51477800}" dt="2024-06-05T20:28:44.260" v="307" actId="47"/>
        <pc:sldMkLst>
          <pc:docMk/>
          <pc:sldMk cId="1423717446" sldId="2720"/>
        </pc:sldMkLst>
      </pc:sldChg>
      <pc:sldChg chg="del replTag delTag">
        <pc:chgData name="Richardson Concha, Luis Enrique" userId="24a26401-76f9-4f62-bb1e-7d6980a282dd" providerId="ADAL" clId="{8E78D5C7-540C-4C79-A382-5D3B51477800}" dt="2024-06-05T20:28:44.956" v="312" actId="47"/>
        <pc:sldMkLst>
          <pc:docMk/>
          <pc:sldMk cId="856661537" sldId="2721"/>
        </pc:sldMkLst>
      </pc:sldChg>
      <pc:sldChg chg="addSp delSp modSp add mod ord replTag delTag">
        <pc:chgData name="Richardson Concha, Luis Enrique" userId="24a26401-76f9-4f62-bb1e-7d6980a282dd" providerId="ADAL" clId="{8E78D5C7-540C-4C79-A382-5D3B51477800}" dt="2024-06-06T18:30:49.530" v="2660"/>
        <pc:sldMkLst>
          <pc:docMk/>
          <pc:sldMk cId="3260991967" sldId="2721"/>
        </pc:sldMkLst>
        <pc:spChg chg="mod ord">
          <ac:chgData name="Richardson Concha, Luis Enrique" userId="24a26401-76f9-4f62-bb1e-7d6980a282dd" providerId="ADAL" clId="{8E78D5C7-540C-4C79-A382-5D3B51477800}" dt="2024-06-06T18:30:45.993" v="2649"/>
          <ac:spMkLst>
            <pc:docMk/>
            <pc:sldMk cId="3260991967" sldId="2721"/>
            <ac:spMk id="17" creationId="{BFBD94C6-FF5E-924E-A4E6-F9CEF0E1FFE5}"/>
          </ac:spMkLst>
        </pc:spChg>
        <pc:spChg chg="mod ord">
          <ac:chgData name="Richardson Concha, Luis Enrique" userId="24a26401-76f9-4f62-bb1e-7d6980a282dd" providerId="ADAL" clId="{8E78D5C7-540C-4C79-A382-5D3B51477800}" dt="2024-06-06T18:30:45.993" v="2647"/>
          <ac:spMkLst>
            <pc:docMk/>
            <pc:sldMk cId="3260991967" sldId="2721"/>
            <ac:spMk id="36" creationId="{F9506A3C-ED6C-864E-946A-28D52CFBE7C1}"/>
          </ac:spMkLst>
        </pc:spChg>
        <pc:graphicFrameChg chg="mod">
          <ac:chgData name="Richardson Concha, Luis Enrique" userId="24a26401-76f9-4f62-bb1e-7d6980a282dd" providerId="ADAL" clId="{8E78D5C7-540C-4C79-A382-5D3B51477800}" dt="2024-06-06T18:30:45.997" v="2655"/>
          <ac:graphicFrameMkLst>
            <pc:docMk/>
            <pc:sldMk cId="3260991967" sldId="2721"/>
            <ac:graphicFrameMk id="6" creationId="{7916D848-0D74-682B-2059-D4867C0BDEEE}"/>
          </ac:graphicFrameMkLst>
        </pc:graphicFrameChg>
        <pc:picChg chg="mod ord">
          <ac:chgData name="Richardson Concha, Luis Enrique" userId="24a26401-76f9-4f62-bb1e-7d6980a282dd" providerId="ADAL" clId="{8E78D5C7-540C-4C79-A382-5D3B51477800}" dt="2024-06-06T18:30:45.994" v="2651"/>
          <ac:picMkLst>
            <pc:docMk/>
            <pc:sldMk cId="3260991967" sldId="2721"/>
            <ac:picMk id="3" creationId="{E326459A-0391-08B7-78AF-F69E865FCF45}"/>
          </ac:picMkLst>
        </pc:picChg>
        <pc:picChg chg="add mod ord modCrop">
          <ac:chgData name="Richardson Concha, Luis Enrique" userId="24a26401-76f9-4f62-bb1e-7d6980a282dd" providerId="ADAL" clId="{8E78D5C7-540C-4C79-A382-5D3B51477800}" dt="2024-06-06T18:30:45.992" v="2643"/>
          <ac:picMkLst>
            <pc:docMk/>
            <pc:sldMk cId="3260991967" sldId="2721"/>
            <ac:picMk id="4" creationId="{66E72B45-9D75-2053-4AF0-51F0CC3BBAD9}"/>
          </ac:picMkLst>
        </pc:picChg>
        <pc:picChg chg="del mod ord">
          <ac:chgData name="Richardson Concha, Luis Enrique" userId="24a26401-76f9-4f62-bb1e-7d6980a282dd" providerId="ADAL" clId="{8E78D5C7-540C-4C79-A382-5D3B51477800}" dt="2024-06-06T18:30:47.452" v="2656" actId="478"/>
          <ac:picMkLst>
            <pc:docMk/>
            <pc:sldMk cId="3260991967" sldId="2721"/>
            <ac:picMk id="5" creationId="{00000000-0000-0000-0000-000000000000}"/>
          </ac:picMkLst>
        </pc:picChg>
      </pc:sldChg>
      <pc:sldChg chg="add del replTag delTag">
        <pc:chgData name="Richardson Concha, Luis Enrique" userId="24a26401-76f9-4f62-bb1e-7d6980a282dd" providerId="ADAL" clId="{8E78D5C7-540C-4C79-A382-5D3B51477800}" dt="2024-06-06T14:40:34.943" v="1471" actId="47"/>
        <pc:sldMkLst>
          <pc:docMk/>
          <pc:sldMk cId="968838866" sldId="2722"/>
        </pc:sldMkLst>
      </pc:sldChg>
      <pc:sldChg chg="addSp delSp modSp add mod ord replTag delTag">
        <pc:chgData name="Richardson Concha, Luis Enrique" userId="24a26401-76f9-4f62-bb1e-7d6980a282dd" providerId="ADAL" clId="{8E78D5C7-540C-4C79-A382-5D3B51477800}" dt="2024-06-06T18:39:13.037" v="2718" actId="478"/>
        <pc:sldMkLst>
          <pc:docMk/>
          <pc:sldMk cId="1335027045" sldId="2722"/>
        </pc:sldMkLst>
        <pc:spChg chg="mod ord">
          <ac:chgData name="Richardson Concha, Luis Enrique" userId="24a26401-76f9-4f62-bb1e-7d6980a282dd" providerId="ADAL" clId="{8E78D5C7-540C-4C79-A382-5D3B51477800}" dt="2024-06-06T18:39:11.708" v="2711"/>
          <ac:spMkLst>
            <pc:docMk/>
            <pc:sldMk cId="1335027045" sldId="2722"/>
            <ac:spMk id="17" creationId="{BFBD94C6-FF5E-924E-A4E6-F9CEF0E1FFE5}"/>
          </ac:spMkLst>
        </pc:spChg>
        <pc:spChg chg="mod ord">
          <ac:chgData name="Richardson Concha, Luis Enrique" userId="24a26401-76f9-4f62-bb1e-7d6980a282dd" providerId="ADAL" clId="{8E78D5C7-540C-4C79-A382-5D3B51477800}" dt="2024-06-06T18:39:11.707" v="2709"/>
          <ac:spMkLst>
            <pc:docMk/>
            <pc:sldMk cId="1335027045" sldId="2722"/>
            <ac:spMk id="36" creationId="{F9506A3C-ED6C-864E-946A-28D52CFBE7C1}"/>
          </ac:spMkLst>
        </pc:spChg>
        <pc:graphicFrameChg chg="mod">
          <ac:chgData name="Richardson Concha, Luis Enrique" userId="24a26401-76f9-4f62-bb1e-7d6980a282dd" providerId="ADAL" clId="{8E78D5C7-540C-4C79-A382-5D3B51477800}" dt="2024-06-06T18:39:11.711" v="2717"/>
          <ac:graphicFrameMkLst>
            <pc:docMk/>
            <pc:sldMk cId="1335027045" sldId="2722"/>
            <ac:graphicFrameMk id="6" creationId="{7916D848-0D74-682B-2059-D4867C0BDEEE}"/>
          </ac:graphicFrameMkLst>
        </pc:graphicFrameChg>
        <pc:picChg chg="mod ord">
          <ac:chgData name="Richardson Concha, Luis Enrique" userId="24a26401-76f9-4f62-bb1e-7d6980a282dd" providerId="ADAL" clId="{8E78D5C7-540C-4C79-A382-5D3B51477800}" dt="2024-06-06T18:39:11.708" v="2713"/>
          <ac:picMkLst>
            <pc:docMk/>
            <pc:sldMk cId="1335027045" sldId="2722"/>
            <ac:picMk id="3" creationId="{E326459A-0391-08B7-78AF-F69E865FCF45}"/>
          </ac:picMkLst>
        </pc:picChg>
        <pc:picChg chg="del mod ord">
          <ac:chgData name="Richardson Concha, Luis Enrique" userId="24a26401-76f9-4f62-bb1e-7d6980a282dd" providerId="ADAL" clId="{8E78D5C7-540C-4C79-A382-5D3B51477800}" dt="2024-06-06T18:39:13.037" v="2718" actId="478"/>
          <ac:picMkLst>
            <pc:docMk/>
            <pc:sldMk cId="1335027045" sldId="2722"/>
            <ac:picMk id="5" creationId="{00000000-0000-0000-0000-000000000000}"/>
          </ac:picMkLst>
        </pc:picChg>
        <pc:picChg chg="add mod">
          <ac:chgData name="Richardson Concha, Luis Enrique" userId="24a26401-76f9-4f62-bb1e-7d6980a282dd" providerId="ADAL" clId="{8E78D5C7-540C-4C79-A382-5D3B51477800}" dt="2024-06-06T18:39:11.706" v="2705"/>
          <ac:picMkLst>
            <pc:docMk/>
            <pc:sldMk cId="1335027045" sldId="2722"/>
            <ac:picMk id="8194" creationId="{9728FE0D-3038-A644-F110-FCE05F6FB6C7}"/>
          </ac:picMkLst>
        </pc:picChg>
      </pc:sldChg>
      <pc:sldChg chg="addSp delSp modSp add mod ord replTag delTag">
        <pc:chgData name="Richardson Concha, Luis Enrique" userId="24a26401-76f9-4f62-bb1e-7d6980a282dd" providerId="ADAL" clId="{8E78D5C7-540C-4C79-A382-5D3B51477800}" dt="2024-06-06T18:40:52.957" v="2748" actId="478"/>
        <pc:sldMkLst>
          <pc:docMk/>
          <pc:sldMk cId="2826823492" sldId="2723"/>
        </pc:sldMkLst>
        <pc:spChg chg="mod ord">
          <ac:chgData name="Richardson Concha, Luis Enrique" userId="24a26401-76f9-4f62-bb1e-7d6980a282dd" providerId="ADAL" clId="{8E78D5C7-540C-4C79-A382-5D3B51477800}" dt="2024-06-06T18:40:51.570" v="2741"/>
          <ac:spMkLst>
            <pc:docMk/>
            <pc:sldMk cId="2826823492" sldId="2723"/>
            <ac:spMk id="17" creationId="{BFBD94C6-FF5E-924E-A4E6-F9CEF0E1FFE5}"/>
          </ac:spMkLst>
        </pc:spChg>
        <pc:spChg chg="mod ord">
          <ac:chgData name="Richardson Concha, Luis Enrique" userId="24a26401-76f9-4f62-bb1e-7d6980a282dd" providerId="ADAL" clId="{8E78D5C7-540C-4C79-A382-5D3B51477800}" dt="2024-06-06T18:40:51.569" v="2739"/>
          <ac:spMkLst>
            <pc:docMk/>
            <pc:sldMk cId="2826823492" sldId="2723"/>
            <ac:spMk id="36" creationId="{F9506A3C-ED6C-864E-946A-28D52CFBE7C1}"/>
          </ac:spMkLst>
        </pc:spChg>
        <pc:graphicFrameChg chg="mod">
          <ac:chgData name="Richardson Concha, Luis Enrique" userId="24a26401-76f9-4f62-bb1e-7d6980a282dd" providerId="ADAL" clId="{8E78D5C7-540C-4C79-A382-5D3B51477800}" dt="2024-06-06T18:40:51.573" v="2747"/>
          <ac:graphicFrameMkLst>
            <pc:docMk/>
            <pc:sldMk cId="2826823492" sldId="2723"/>
            <ac:graphicFrameMk id="6" creationId="{7916D848-0D74-682B-2059-D4867C0BDEEE}"/>
          </ac:graphicFrameMkLst>
        </pc:graphicFrameChg>
        <pc:picChg chg="mod ord">
          <ac:chgData name="Richardson Concha, Luis Enrique" userId="24a26401-76f9-4f62-bb1e-7d6980a282dd" providerId="ADAL" clId="{8E78D5C7-540C-4C79-A382-5D3B51477800}" dt="2024-06-06T18:40:51.570" v="2743"/>
          <ac:picMkLst>
            <pc:docMk/>
            <pc:sldMk cId="2826823492" sldId="2723"/>
            <ac:picMk id="3" creationId="{E326459A-0391-08B7-78AF-F69E865FCF45}"/>
          </ac:picMkLst>
        </pc:picChg>
        <pc:picChg chg="del mod ord">
          <ac:chgData name="Richardson Concha, Luis Enrique" userId="24a26401-76f9-4f62-bb1e-7d6980a282dd" providerId="ADAL" clId="{8E78D5C7-540C-4C79-A382-5D3B51477800}" dt="2024-06-06T18:40:52.957" v="2748" actId="478"/>
          <ac:picMkLst>
            <pc:docMk/>
            <pc:sldMk cId="2826823492" sldId="2723"/>
            <ac:picMk id="5" creationId="{00000000-0000-0000-0000-000000000000}"/>
          </ac:picMkLst>
        </pc:picChg>
        <pc:picChg chg="add mod">
          <ac:chgData name="Richardson Concha, Luis Enrique" userId="24a26401-76f9-4f62-bb1e-7d6980a282dd" providerId="ADAL" clId="{8E78D5C7-540C-4C79-A382-5D3B51477800}" dt="2024-06-06T18:40:51.568" v="2735"/>
          <ac:picMkLst>
            <pc:docMk/>
            <pc:sldMk cId="2826823492" sldId="2723"/>
            <ac:picMk id="9218" creationId="{9B1D1A0A-F43B-670F-3893-75A4B547DA13}"/>
          </ac:picMkLst>
        </pc:picChg>
      </pc:sldChg>
      <pc:sldChg chg="addSp delSp modSp add mod replTag delTag">
        <pc:chgData name="Richardson Concha, Luis Enrique" userId="24a26401-76f9-4f62-bb1e-7d6980a282dd" providerId="ADAL" clId="{8E78D5C7-540C-4C79-A382-5D3B51477800}" dt="2024-06-06T18:49:27.600" v="2939"/>
        <pc:sldMkLst>
          <pc:docMk/>
          <pc:sldMk cId="2019860821" sldId="2724"/>
        </pc:sldMkLst>
        <pc:spChg chg="mod ord">
          <ac:chgData name="Richardson Concha, Luis Enrique" userId="24a26401-76f9-4f62-bb1e-7d6980a282dd" providerId="ADAL" clId="{8E78D5C7-540C-4C79-A382-5D3B51477800}" dt="2024-06-06T18:42:37.219" v="2765"/>
          <ac:spMkLst>
            <pc:docMk/>
            <pc:sldMk cId="2019860821" sldId="2724"/>
            <ac:spMk id="17" creationId="{BFBD94C6-FF5E-924E-A4E6-F9CEF0E1FFE5}"/>
          </ac:spMkLst>
        </pc:spChg>
        <pc:spChg chg="mod ord">
          <ac:chgData name="Richardson Concha, Luis Enrique" userId="24a26401-76f9-4f62-bb1e-7d6980a282dd" providerId="ADAL" clId="{8E78D5C7-540C-4C79-A382-5D3B51477800}" dt="2024-06-06T18:42:37.218" v="2763"/>
          <ac:spMkLst>
            <pc:docMk/>
            <pc:sldMk cId="2019860821" sldId="2724"/>
            <ac:spMk id="36" creationId="{F9506A3C-ED6C-864E-946A-28D52CFBE7C1}"/>
          </ac:spMkLst>
        </pc:spChg>
        <pc:graphicFrameChg chg="mod">
          <ac:chgData name="Richardson Concha, Luis Enrique" userId="24a26401-76f9-4f62-bb1e-7d6980a282dd" providerId="ADAL" clId="{8E78D5C7-540C-4C79-A382-5D3B51477800}" dt="2024-06-06T18:42:37.222" v="2771"/>
          <ac:graphicFrameMkLst>
            <pc:docMk/>
            <pc:sldMk cId="2019860821" sldId="2724"/>
            <ac:graphicFrameMk id="6" creationId="{7916D848-0D74-682B-2059-D4867C0BDEEE}"/>
          </ac:graphicFrameMkLst>
        </pc:graphicFrameChg>
        <pc:picChg chg="mod ord">
          <ac:chgData name="Richardson Concha, Luis Enrique" userId="24a26401-76f9-4f62-bb1e-7d6980a282dd" providerId="ADAL" clId="{8E78D5C7-540C-4C79-A382-5D3B51477800}" dt="2024-06-06T18:42:37.219" v="2767"/>
          <ac:picMkLst>
            <pc:docMk/>
            <pc:sldMk cId="2019860821" sldId="2724"/>
            <ac:picMk id="3" creationId="{E326459A-0391-08B7-78AF-F69E865FCF45}"/>
          </ac:picMkLst>
        </pc:picChg>
        <pc:picChg chg="del mod ord">
          <ac:chgData name="Richardson Concha, Luis Enrique" userId="24a26401-76f9-4f62-bb1e-7d6980a282dd" providerId="ADAL" clId="{8E78D5C7-540C-4C79-A382-5D3B51477800}" dt="2024-06-06T18:42:38.587" v="2772" actId="478"/>
          <ac:picMkLst>
            <pc:docMk/>
            <pc:sldMk cId="2019860821" sldId="2724"/>
            <ac:picMk id="5" creationId="{00000000-0000-0000-0000-000000000000}"/>
          </ac:picMkLst>
        </pc:picChg>
        <pc:picChg chg="add mod">
          <ac:chgData name="Richardson Concha, Luis Enrique" userId="24a26401-76f9-4f62-bb1e-7d6980a282dd" providerId="ADAL" clId="{8E78D5C7-540C-4C79-A382-5D3B51477800}" dt="2024-06-06T18:42:37.217" v="2759"/>
          <ac:picMkLst>
            <pc:docMk/>
            <pc:sldMk cId="2019860821" sldId="2724"/>
            <ac:picMk id="10242" creationId="{F0D42924-4EED-D544-E62F-FE04E9775FFE}"/>
          </ac:picMkLst>
        </pc:picChg>
      </pc:sldChg>
      <pc:sldChg chg="addSp delSp modSp add mod replTag delTag">
        <pc:chgData name="Richardson Concha, Luis Enrique" userId="24a26401-76f9-4f62-bb1e-7d6980a282dd" providerId="ADAL" clId="{8E78D5C7-540C-4C79-A382-5D3B51477800}" dt="2024-06-06T18:49:29.296" v="2941"/>
        <pc:sldMkLst>
          <pc:docMk/>
          <pc:sldMk cId="1863031693" sldId="2725"/>
        </pc:sldMkLst>
        <pc:spChg chg="mod ord">
          <ac:chgData name="Richardson Concha, Luis Enrique" userId="24a26401-76f9-4f62-bb1e-7d6980a282dd" providerId="ADAL" clId="{8E78D5C7-540C-4C79-A382-5D3B51477800}" dt="2024-06-06T18:44:33.858" v="2790"/>
          <ac:spMkLst>
            <pc:docMk/>
            <pc:sldMk cId="1863031693" sldId="2725"/>
            <ac:spMk id="17" creationId="{BFBD94C6-FF5E-924E-A4E6-F9CEF0E1FFE5}"/>
          </ac:spMkLst>
        </pc:spChg>
        <pc:spChg chg="mod ord">
          <ac:chgData name="Richardson Concha, Luis Enrique" userId="24a26401-76f9-4f62-bb1e-7d6980a282dd" providerId="ADAL" clId="{8E78D5C7-540C-4C79-A382-5D3B51477800}" dt="2024-06-06T18:44:33.857" v="2788"/>
          <ac:spMkLst>
            <pc:docMk/>
            <pc:sldMk cId="1863031693" sldId="2725"/>
            <ac:spMk id="36" creationId="{F9506A3C-ED6C-864E-946A-28D52CFBE7C1}"/>
          </ac:spMkLst>
        </pc:spChg>
        <pc:graphicFrameChg chg="mod">
          <ac:chgData name="Richardson Concha, Luis Enrique" userId="24a26401-76f9-4f62-bb1e-7d6980a282dd" providerId="ADAL" clId="{8E78D5C7-540C-4C79-A382-5D3B51477800}" dt="2024-06-06T18:44:33.861" v="2796"/>
          <ac:graphicFrameMkLst>
            <pc:docMk/>
            <pc:sldMk cId="1863031693" sldId="2725"/>
            <ac:graphicFrameMk id="6" creationId="{7916D848-0D74-682B-2059-D4867C0BDEEE}"/>
          </ac:graphicFrameMkLst>
        </pc:graphicFrameChg>
        <pc:picChg chg="mod ord">
          <ac:chgData name="Richardson Concha, Luis Enrique" userId="24a26401-76f9-4f62-bb1e-7d6980a282dd" providerId="ADAL" clId="{8E78D5C7-540C-4C79-A382-5D3B51477800}" dt="2024-06-06T18:44:33.858" v="2792"/>
          <ac:picMkLst>
            <pc:docMk/>
            <pc:sldMk cId="1863031693" sldId="2725"/>
            <ac:picMk id="3" creationId="{E326459A-0391-08B7-78AF-F69E865FCF45}"/>
          </ac:picMkLst>
        </pc:picChg>
        <pc:picChg chg="del mod ord">
          <ac:chgData name="Richardson Concha, Luis Enrique" userId="24a26401-76f9-4f62-bb1e-7d6980a282dd" providerId="ADAL" clId="{8E78D5C7-540C-4C79-A382-5D3B51477800}" dt="2024-06-06T18:44:35.261" v="2797" actId="478"/>
          <ac:picMkLst>
            <pc:docMk/>
            <pc:sldMk cId="1863031693" sldId="2725"/>
            <ac:picMk id="5" creationId="{00000000-0000-0000-0000-000000000000}"/>
          </ac:picMkLst>
        </pc:picChg>
        <pc:picChg chg="add mod">
          <ac:chgData name="Richardson Concha, Luis Enrique" userId="24a26401-76f9-4f62-bb1e-7d6980a282dd" providerId="ADAL" clId="{8E78D5C7-540C-4C79-A382-5D3B51477800}" dt="2024-06-06T18:44:33.856" v="2784"/>
          <ac:picMkLst>
            <pc:docMk/>
            <pc:sldMk cId="1863031693" sldId="2725"/>
            <ac:picMk id="11266" creationId="{0400488B-FE77-24EE-B9DF-6DD58858536A}"/>
          </ac:picMkLst>
        </pc:picChg>
      </pc:sldChg>
      <pc:sldChg chg="addSp delSp modSp add mod ord replTag delTag">
        <pc:chgData name="Richardson Concha, Luis Enrique" userId="24a26401-76f9-4f62-bb1e-7d6980a282dd" providerId="ADAL" clId="{8E78D5C7-540C-4C79-A382-5D3B51477800}" dt="2024-06-06T18:46:10.592" v="2823"/>
        <pc:sldMkLst>
          <pc:docMk/>
          <pc:sldMk cId="2533453618" sldId="2726"/>
        </pc:sldMkLst>
        <pc:spChg chg="mod ord">
          <ac:chgData name="Richardson Concha, Luis Enrique" userId="24a26401-76f9-4f62-bb1e-7d6980a282dd" providerId="ADAL" clId="{8E78D5C7-540C-4C79-A382-5D3B51477800}" dt="2024-06-06T18:46:06.947" v="2814"/>
          <ac:spMkLst>
            <pc:docMk/>
            <pc:sldMk cId="2533453618" sldId="2726"/>
            <ac:spMk id="17" creationId="{BFBD94C6-FF5E-924E-A4E6-F9CEF0E1FFE5}"/>
          </ac:spMkLst>
        </pc:spChg>
        <pc:spChg chg="mod ord">
          <ac:chgData name="Richardson Concha, Luis Enrique" userId="24a26401-76f9-4f62-bb1e-7d6980a282dd" providerId="ADAL" clId="{8E78D5C7-540C-4C79-A382-5D3B51477800}" dt="2024-06-06T18:46:06.946" v="2812"/>
          <ac:spMkLst>
            <pc:docMk/>
            <pc:sldMk cId="2533453618" sldId="2726"/>
            <ac:spMk id="36" creationId="{F9506A3C-ED6C-864E-946A-28D52CFBE7C1}"/>
          </ac:spMkLst>
        </pc:spChg>
        <pc:graphicFrameChg chg="mod">
          <ac:chgData name="Richardson Concha, Luis Enrique" userId="24a26401-76f9-4f62-bb1e-7d6980a282dd" providerId="ADAL" clId="{8E78D5C7-540C-4C79-A382-5D3B51477800}" dt="2024-06-06T18:46:06.950" v="2820"/>
          <ac:graphicFrameMkLst>
            <pc:docMk/>
            <pc:sldMk cId="2533453618" sldId="2726"/>
            <ac:graphicFrameMk id="6" creationId="{7916D848-0D74-682B-2059-D4867C0BDEEE}"/>
          </ac:graphicFrameMkLst>
        </pc:graphicFrameChg>
        <pc:picChg chg="mod ord">
          <ac:chgData name="Richardson Concha, Luis Enrique" userId="24a26401-76f9-4f62-bb1e-7d6980a282dd" providerId="ADAL" clId="{8E78D5C7-540C-4C79-A382-5D3B51477800}" dt="2024-06-06T18:46:06.947" v="2816"/>
          <ac:picMkLst>
            <pc:docMk/>
            <pc:sldMk cId="2533453618" sldId="2726"/>
            <ac:picMk id="3" creationId="{E326459A-0391-08B7-78AF-F69E865FCF45}"/>
          </ac:picMkLst>
        </pc:picChg>
        <pc:picChg chg="del mod ord">
          <ac:chgData name="Richardson Concha, Luis Enrique" userId="24a26401-76f9-4f62-bb1e-7d6980a282dd" providerId="ADAL" clId="{8E78D5C7-540C-4C79-A382-5D3B51477800}" dt="2024-06-06T18:46:08.172" v="2821" actId="478"/>
          <ac:picMkLst>
            <pc:docMk/>
            <pc:sldMk cId="2533453618" sldId="2726"/>
            <ac:picMk id="5" creationId="{00000000-0000-0000-0000-000000000000}"/>
          </ac:picMkLst>
        </pc:picChg>
        <pc:picChg chg="add mod">
          <ac:chgData name="Richardson Concha, Luis Enrique" userId="24a26401-76f9-4f62-bb1e-7d6980a282dd" providerId="ADAL" clId="{8E78D5C7-540C-4C79-A382-5D3B51477800}" dt="2024-06-06T18:46:06.944" v="2808"/>
          <ac:picMkLst>
            <pc:docMk/>
            <pc:sldMk cId="2533453618" sldId="2726"/>
            <ac:picMk id="12290" creationId="{A2C04846-2825-D972-72C9-3DBF8E5B65BE}"/>
          </ac:picMkLst>
        </pc:picChg>
      </pc:sldChg>
      <pc:sldChg chg="addSp delSp modSp add mod ord replTag delTag">
        <pc:chgData name="Richardson Concha, Luis Enrique" userId="24a26401-76f9-4f62-bb1e-7d6980a282dd" providerId="ADAL" clId="{8E78D5C7-540C-4C79-A382-5D3B51477800}" dt="2024-06-06T18:47:09.117" v="2852" actId="478"/>
        <pc:sldMkLst>
          <pc:docMk/>
          <pc:sldMk cId="414531341" sldId="2727"/>
        </pc:sldMkLst>
        <pc:spChg chg="mod ord">
          <ac:chgData name="Richardson Concha, Luis Enrique" userId="24a26401-76f9-4f62-bb1e-7d6980a282dd" providerId="ADAL" clId="{8E78D5C7-540C-4C79-A382-5D3B51477800}" dt="2024-06-06T18:47:07.772" v="2845"/>
          <ac:spMkLst>
            <pc:docMk/>
            <pc:sldMk cId="414531341" sldId="2727"/>
            <ac:spMk id="17" creationId="{BFBD94C6-FF5E-924E-A4E6-F9CEF0E1FFE5}"/>
          </ac:spMkLst>
        </pc:spChg>
        <pc:spChg chg="mod ord">
          <ac:chgData name="Richardson Concha, Luis Enrique" userId="24a26401-76f9-4f62-bb1e-7d6980a282dd" providerId="ADAL" clId="{8E78D5C7-540C-4C79-A382-5D3B51477800}" dt="2024-06-06T18:47:07.771" v="2843"/>
          <ac:spMkLst>
            <pc:docMk/>
            <pc:sldMk cId="414531341" sldId="2727"/>
            <ac:spMk id="36" creationId="{F9506A3C-ED6C-864E-946A-28D52CFBE7C1}"/>
          </ac:spMkLst>
        </pc:spChg>
        <pc:graphicFrameChg chg="mod">
          <ac:chgData name="Richardson Concha, Luis Enrique" userId="24a26401-76f9-4f62-bb1e-7d6980a282dd" providerId="ADAL" clId="{8E78D5C7-540C-4C79-A382-5D3B51477800}" dt="2024-06-06T18:47:07.777" v="2851"/>
          <ac:graphicFrameMkLst>
            <pc:docMk/>
            <pc:sldMk cId="414531341" sldId="2727"/>
            <ac:graphicFrameMk id="6" creationId="{7916D848-0D74-682B-2059-D4867C0BDEEE}"/>
          </ac:graphicFrameMkLst>
        </pc:graphicFrameChg>
        <pc:picChg chg="mod ord">
          <ac:chgData name="Richardson Concha, Luis Enrique" userId="24a26401-76f9-4f62-bb1e-7d6980a282dd" providerId="ADAL" clId="{8E78D5C7-540C-4C79-A382-5D3B51477800}" dt="2024-06-06T18:47:07.772" v="2847"/>
          <ac:picMkLst>
            <pc:docMk/>
            <pc:sldMk cId="414531341" sldId="2727"/>
            <ac:picMk id="3" creationId="{E326459A-0391-08B7-78AF-F69E865FCF45}"/>
          </ac:picMkLst>
        </pc:picChg>
        <pc:picChg chg="del mod ord">
          <ac:chgData name="Richardson Concha, Luis Enrique" userId="24a26401-76f9-4f62-bb1e-7d6980a282dd" providerId="ADAL" clId="{8E78D5C7-540C-4C79-A382-5D3B51477800}" dt="2024-06-06T18:47:09.117" v="2852" actId="478"/>
          <ac:picMkLst>
            <pc:docMk/>
            <pc:sldMk cId="414531341" sldId="2727"/>
            <ac:picMk id="5" creationId="{00000000-0000-0000-0000-000000000000}"/>
          </ac:picMkLst>
        </pc:picChg>
        <pc:picChg chg="add mod">
          <ac:chgData name="Richardson Concha, Luis Enrique" userId="24a26401-76f9-4f62-bb1e-7d6980a282dd" providerId="ADAL" clId="{8E78D5C7-540C-4C79-A382-5D3B51477800}" dt="2024-06-06T18:47:07.770" v="2839"/>
          <ac:picMkLst>
            <pc:docMk/>
            <pc:sldMk cId="414531341" sldId="2727"/>
            <ac:picMk id="13314" creationId="{1428A046-3BB2-CA18-8E17-34EF2A872495}"/>
          </ac:picMkLst>
        </pc:picChg>
      </pc:sldChg>
      <pc:sldChg chg="addSp delSp modSp add mod replTag delTag">
        <pc:chgData name="Richardson Concha, Luis Enrique" userId="24a26401-76f9-4f62-bb1e-7d6980a282dd" providerId="ADAL" clId="{8E78D5C7-540C-4C79-A382-5D3B51477800}" dt="2024-06-06T18:48:26.412" v="2875" actId="478"/>
        <pc:sldMkLst>
          <pc:docMk/>
          <pc:sldMk cId="434295357" sldId="2728"/>
        </pc:sldMkLst>
        <pc:spChg chg="mod ord">
          <ac:chgData name="Richardson Concha, Luis Enrique" userId="24a26401-76f9-4f62-bb1e-7d6980a282dd" providerId="ADAL" clId="{8E78D5C7-540C-4C79-A382-5D3B51477800}" dt="2024-06-06T18:48:24.395" v="2868"/>
          <ac:spMkLst>
            <pc:docMk/>
            <pc:sldMk cId="434295357" sldId="2728"/>
            <ac:spMk id="17" creationId="{BFBD94C6-FF5E-924E-A4E6-F9CEF0E1FFE5}"/>
          </ac:spMkLst>
        </pc:spChg>
        <pc:spChg chg="mod ord">
          <ac:chgData name="Richardson Concha, Luis Enrique" userId="24a26401-76f9-4f62-bb1e-7d6980a282dd" providerId="ADAL" clId="{8E78D5C7-540C-4C79-A382-5D3B51477800}" dt="2024-06-06T18:48:24.394" v="2866"/>
          <ac:spMkLst>
            <pc:docMk/>
            <pc:sldMk cId="434295357" sldId="2728"/>
            <ac:spMk id="36" creationId="{F9506A3C-ED6C-864E-946A-28D52CFBE7C1}"/>
          </ac:spMkLst>
        </pc:spChg>
        <pc:graphicFrameChg chg="mod">
          <ac:chgData name="Richardson Concha, Luis Enrique" userId="24a26401-76f9-4f62-bb1e-7d6980a282dd" providerId="ADAL" clId="{8E78D5C7-540C-4C79-A382-5D3B51477800}" dt="2024-06-06T18:48:24.398" v="2874"/>
          <ac:graphicFrameMkLst>
            <pc:docMk/>
            <pc:sldMk cId="434295357" sldId="2728"/>
            <ac:graphicFrameMk id="6" creationId="{7916D848-0D74-682B-2059-D4867C0BDEEE}"/>
          </ac:graphicFrameMkLst>
        </pc:graphicFrameChg>
        <pc:picChg chg="mod ord">
          <ac:chgData name="Richardson Concha, Luis Enrique" userId="24a26401-76f9-4f62-bb1e-7d6980a282dd" providerId="ADAL" clId="{8E78D5C7-540C-4C79-A382-5D3B51477800}" dt="2024-06-06T18:48:24.395" v="2870"/>
          <ac:picMkLst>
            <pc:docMk/>
            <pc:sldMk cId="434295357" sldId="2728"/>
            <ac:picMk id="3" creationId="{E326459A-0391-08B7-78AF-F69E865FCF45}"/>
          </ac:picMkLst>
        </pc:picChg>
        <pc:picChg chg="del mod ord">
          <ac:chgData name="Richardson Concha, Luis Enrique" userId="24a26401-76f9-4f62-bb1e-7d6980a282dd" providerId="ADAL" clId="{8E78D5C7-540C-4C79-A382-5D3B51477800}" dt="2024-06-06T18:48:26.412" v="2875" actId="478"/>
          <ac:picMkLst>
            <pc:docMk/>
            <pc:sldMk cId="434295357" sldId="2728"/>
            <ac:picMk id="5" creationId="{00000000-0000-0000-0000-000000000000}"/>
          </ac:picMkLst>
        </pc:picChg>
        <pc:picChg chg="add mod">
          <ac:chgData name="Richardson Concha, Luis Enrique" userId="24a26401-76f9-4f62-bb1e-7d6980a282dd" providerId="ADAL" clId="{8E78D5C7-540C-4C79-A382-5D3B51477800}" dt="2024-06-06T18:48:24.393" v="2862"/>
          <ac:picMkLst>
            <pc:docMk/>
            <pc:sldMk cId="434295357" sldId="2728"/>
            <ac:picMk id="14338" creationId="{BC5CA673-1BC7-76CE-A9E3-3888E202C4F6}"/>
          </ac:picMkLst>
        </pc:picChg>
      </pc:sldChg>
    </pc:docChg>
  </pc:docChgLst>
  <pc:docChgLst>
    <pc:chgData name="Richardson Concha, Luis Enrique" userId="24a26401-76f9-4f62-bb1e-7d6980a282dd" providerId="ADAL" clId="{EABDCB78-D37A-4621-8BE3-4CE49916BF9E}"/>
    <pc:docChg chg="custSel modSld replTag delTag">
      <pc:chgData name="Richardson Concha, Luis Enrique" userId="24a26401-76f9-4f62-bb1e-7d6980a282dd" providerId="ADAL" clId="{EABDCB78-D37A-4621-8BE3-4CE49916BF9E}" dt="2024-05-28T21:24:34.455" v="217"/>
      <pc:docMkLst>
        <pc:docMk/>
      </pc:docMkLst>
      <pc:sldChg chg="replTag delTag">
        <pc:chgData name="Richardson Concha, Luis Enrique" userId="24a26401-76f9-4f62-bb1e-7d6980a282dd" providerId="ADAL" clId="{EABDCB78-D37A-4621-8BE3-4CE49916BF9E}" dt="2024-05-28T21:24:17.764" v="163"/>
        <pc:sldMkLst>
          <pc:docMk/>
          <pc:sldMk cId="2989611669" sldId="256"/>
        </pc:sldMkLst>
      </pc:sldChg>
      <pc:sldChg chg="replTag delTag">
        <pc:chgData name="Richardson Concha, Luis Enrique" userId="24a26401-76f9-4f62-bb1e-7d6980a282dd" providerId="ADAL" clId="{EABDCB78-D37A-4621-8BE3-4CE49916BF9E}" dt="2024-05-28T21:24:18.366" v="165"/>
        <pc:sldMkLst>
          <pc:docMk/>
          <pc:sldMk cId="1483252922" sldId="257"/>
        </pc:sldMkLst>
      </pc:sldChg>
      <pc:sldChg chg="replTag delTag">
        <pc:chgData name="Richardson Concha, Luis Enrique" userId="24a26401-76f9-4f62-bb1e-7d6980a282dd" providerId="ADAL" clId="{EABDCB78-D37A-4621-8BE3-4CE49916BF9E}" dt="2024-05-28T21:24:34.142" v="215"/>
        <pc:sldMkLst>
          <pc:docMk/>
          <pc:sldMk cId="3858523066" sldId="272"/>
        </pc:sldMkLst>
      </pc:sldChg>
      <pc:sldChg chg="replTag delTag">
        <pc:chgData name="Richardson Concha, Luis Enrique" userId="24a26401-76f9-4f62-bb1e-7d6980a282dd" providerId="ADAL" clId="{EABDCB78-D37A-4621-8BE3-4CE49916BF9E}" dt="2024-05-28T21:24:34.455" v="217"/>
        <pc:sldMkLst>
          <pc:docMk/>
          <pc:sldMk cId="1458797933" sldId="274"/>
        </pc:sldMkLst>
      </pc:sldChg>
      <pc:sldChg chg="delSp mod replTag delTag">
        <pc:chgData name="Richardson Concha, Luis Enrique" userId="24a26401-76f9-4f62-bb1e-7d6980a282dd" providerId="ADAL" clId="{EABDCB78-D37A-4621-8BE3-4CE49916BF9E}" dt="2024-05-28T21:24:19.569" v="167"/>
        <pc:sldMkLst>
          <pc:docMk/>
          <pc:sldMk cId="4017552152" sldId="2698"/>
        </pc:sldMkLst>
        <pc:cxnChg chg="del">
          <ac:chgData name="Richardson Concha, Luis Enrique" userId="24a26401-76f9-4f62-bb1e-7d6980a282dd" providerId="ADAL" clId="{EABDCB78-D37A-4621-8BE3-4CE49916BF9E}" dt="2024-05-28T21:22:20.778" v="14" actId="478"/>
          <ac:cxnSpMkLst>
            <pc:docMk/>
            <pc:sldMk cId="4017552152" sldId="2698"/>
            <ac:cxnSpMk id="15" creationId="{F194F5C5-DCC7-AB45-A639-702C5D803FCA}"/>
          </ac:cxnSpMkLst>
        </pc:cxnChg>
      </pc:sldChg>
      <pc:sldChg chg="delSp mod replTag delTag">
        <pc:chgData name="Richardson Concha, Luis Enrique" userId="24a26401-76f9-4f62-bb1e-7d6980a282dd" providerId="ADAL" clId="{EABDCB78-D37A-4621-8BE3-4CE49916BF9E}" dt="2024-05-28T21:24:20.883" v="169"/>
        <pc:sldMkLst>
          <pc:docMk/>
          <pc:sldMk cId="1544331097" sldId="2699"/>
        </pc:sldMkLst>
        <pc:cxnChg chg="del">
          <ac:chgData name="Richardson Concha, Luis Enrique" userId="24a26401-76f9-4f62-bb1e-7d6980a282dd" providerId="ADAL" clId="{EABDCB78-D37A-4621-8BE3-4CE49916BF9E}" dt="2024-05-28T21:22:23.445" v="19" actId="478"/>
          <ac:cxnSpMkLst>
            <pc:docMk/>
            <pc:sldMk cId="1544331097" sldId="2699"/>
            <ac:cxnSpMk id="15" creationId="{F194F5C5-DCC7-AB45-A639-702C5D803FCA}"/>
          </ac:cxnSpMkLst>
        </pc:cxnChg>
      </pc:sldChg>
      <pc:sldChg chg="delSp mod replTag delTag">
        <pc:chgData name="Richardson Concha, Luis Enrique" userId="24a26401-76f9-4f62-bb1e-7d6980a282dd" providerId="ADAL" clId="{EABDCB78-D37A-4621-8BE3-4CE49916BF9E}" dt="2024-05-28T21:24:22.162" v="171"/>
        <pc:sldMkLst>
          <pc:docMk/>
          <pc:sldMk cId="1779423148" sldId="2700"/>
        </pc:sldMkLst>
        <pc:cxnChg chg="del">
          <ac:chgData name="Richardson Concha, Luis Enrique" userId="24a26401-76f9-4f62-bb1e-7d6980a282dd" providerId="ADAL" clId="{EABDCB78-D37A-4621-8BE3-4CE49916BF9E}" dt="2024-05-28T21:22:26.565" v="24" actId="478"/>
          <ac:cxnSpMkLst>
            <pc:docMk/>
            <pc:sldMk cId="1779423148" sldId="2700"/>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2.697" v="173"/>
        <pc:sldMkLst>
          <pc:docMk/>
          <pc:sldMk cId="3447600091" sldId="2701"/>
        </pc:sldMkLst>
        <pc:spChg chg="mod">
          <ac:chgData name="Richardson Concha, Luis Enrique" userId="24a26401-76f9-4f62-bb1e-7d6980a282dd" providerId="ADAL" clId="{EABDCB78-D37A-4621-8BE3-4CE49916BF9E}" dt="2024-05-28T21:22:32.707" v="32" actId="33524"/>
          <ac:spMkLst>
            <pc:docMk/>
            <pc:sldMk cId="3447600091" sldId="2701"/>
            <ac:spMk id="36" creationId="{F9506A3C-ED6C-864E-946A-28D52CFBE7C1}"/>
          </ac:spMkLst>
        </pc:spChg>
        <pc:cxnChg chg="del">
          <ac:chgData name="Richardson Concha, Luis Enrique" userId="24a26401-76f9-4f62-bb1e-7d6980a282dd" providerId="ADAL" clId="{EABDCB78-D37A-4621-8BE3-4CE49916BF9E}" dt="2024-05-28T21:22:30.230" v="31" actId="478"/>
          <ac:cxnSpMkLst>
            <pc:docMk/>
            <pc:sldMk cId="3447600091" sldId="2701"/>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3.311" v="175"/>
        <pc:sldMkLst>
          <pc:docMk/>
          <pc:sldMk cId="1633057120" sldId="2702"/>
        </pc:sldMkLst>
        <pc:spChg chg="mod">
          <ac:chgData name="Richardson Concha, Luis Enrique" userId="24a26401-76f9-4f62-bb1e-7d6980a282dd" providerId="ADAL" clId="{EABDCB78-D37A-4621-8BE3-4CE49916BF9E}" dt="2024-05-28T21:22:39.889" v="38" actId="33524"/>
          <ac:spMkLst>
            <pc:docMk/>
            <pc:sldMk cId="1633057120" sldId="2702"/>
            <ac:spMk id="36" creationId="{F9506A3C-ED6C-864E-946A-28D52CFBE7C1}"/>
          </ac:spMkLst>
        </pc:spChg>
        <pc:cxnChg chg="del">
          <ac:chgData name="Richardson Concha, Luis Enrique" userId="24a26401-76f9-4f62-bb1e-7d6980a282dd" providerId="ADAL" clId="{EABDCB78-D37A-4621-8BE3-4CE49916BF9E}" dt="2024-05-28T21:22:36.535" v="37" actId="478"/>
          <ac:cxnSpMkLst>
            <pc:docMk/>
            <pc:sldMk cId="1633057120" sldId="2702"/>
            <ac:cxnSpMk id="15" creationId="{F194F5C5-DCC7-AB45-A639-702C5D803FCA}"/>
          </ac:cxnSpMkLst>
        </pc:cxnChg>
      </pc:sldChg>
      <pc:sldChg chg="delSp mod replTag delTag">
        <pc:chgData name="Richardson Concha, Luis Enrique" userId="24a26401-76f9-4f62-bb1e-7d6980a282dd" providerId="ADAL" clId="{EABDCB78-D37A-4621-8BE3-4CE49916BF9E}" dt="2024-05-28T21:24:23.787" v="177"/>
        <pc:sldMkLst>
          <pc:docMk/>
          <pc:sldMk cId="2343045108" sldId="2703"/>
        </pc:sldMkLst>
        <pc:cxnChg chg="del">
          <ac:chgData name="Richardson Concha, Luis Enrique" userId="24a26401-76f9-4f62-bb1e-7d6980a282dd" providerId="ADAL" clId="{EABDCB78-D37A-4621-8BE3-4CE49916BF9E}" dt="2024-05-28T21:22:47.381" v="43" actId="478"/>
          <ac:cxnSpMkLst>
            <pc:docMk/>
            <pc:sldMk cId="2343045108" sldId="2703"/>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279" v="179"/>
        <pc:sldMkLst>
          <pc:docMk/>
          <pc:sldMk cId="3460794031" sldId="2704"/>
        </pc:sldMkLst>
        <pc:cxnChg chg="del">
          <ac:chgData name="Richardson Concha, Luis Enrique" userId="24a26401-76f9-4f62-bb1e-7d6980a282dd" providerId="ADAL" clId="{EABDCB78-D37A-4621-8BE3-4CE49916BF9E}" dt="2024-05-28T21:22:51.029" v="50" actId="478"/>
          <ac:cxnSpMkLst>
            <pc:docMk/>
            <pc:sldMk cId="3460794031" sldId="2704"/>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842" v="181"/>
        <pc:sldMkLst>
          <pc:docMk/>
          <pc:sldMk cId="616261486" sldId="2705"/>
        </pc:sldMkLst>
        <pc:cxnChg chg="del">
          <ac:chgData name="Richardson Concha, Luis Enrique" userId="24a26401-76f9-4f62-bb1e-7d6980a282dd" providerId="ADAL" clId="{EABDCB78-D37A-4621-8BE3-4CE49916BF9E}" dt="2024-05-28T21:22:53.413" v="55" actId="478"/>
          <ac:cxnSpMkLst>
            <pc:docMk/>
            <pc:sldMk cId="616261486" sldId="2705"/>
            <ac:cxnSpMk id="15" creationId="{F194F5C5-DCC7-AB45-A639-702C5D803FCA}"/>
          </ac:cxnSpMkLst>
        </pc:cxnChg>
      </pc:sldChg>
      <pc:sldChg chg="delSp mod replTag delTag">
        <pc:chgData name="Richardson Concha, Luis Enrique" userId="24a26401-76f9-4f62-bb1e-7d6980a282dd" providerId="ADAL" clId="{EABDCB78-D37A-4621-8BE3-4CE49916BF9E}" dt="2024-05-28T21:24:27.342" v="183"/>
        <pc:sldMkLst>
          <pc:docMk/>
          <pc:sldMk cId="3745508270" sldId="2706"/>
        </pc:sldMkLst>
        <pc:cxnChg chg="del">
          <ac:chgData name="Richardson Concha, Luis Enrique" userId="24a26401-76f9-4f62-bb1e-7d6980a282dd" providerId="ADAL" clId="{EABDCB78-D37A-4621-8BE3-4CE49916BF9E}" dt="2024-05-28T21:22:56.311" v="60" actId="478"/>
          <ac:cxnSpMkLst>
            <pc:docMk/>
            <pc:sldMk cId="3745508270" sldId="2706"/>
            <ac:cxnSpMk id="15" creationId="{F194F5C5-DCC7-AB45-A639-702C5D803FCA}"/>
          </ac:cxnSpMkLst>
        </pc:cxnChg>
      </pc:sldChg>
      <pc:sldChg chg="delSp mod replTag delTag">
        <pc:chgData name="Richardson Concha, Luis Enrique" userId="24a26401-76f9-4f62-bb1e-7d6980a282dd" providerId="ADAL" clId="{EABDCB78-D37A-4621-8BE3-4CE49916BF9E}" dt="2024-05-28T21:24:29.837" v="185"/>
        <pc:sldMkLst>
          <pc:docMk/>
          <pc:sldMk cId="4106909936" sldId="2707"/>
        </pc:sldMkLst>
        <pc:cxnChg chg="del">
          <ac:chgData name="Richardson Concha, Luis Enrique" userId="24a26401-76f9-4f62-bb1e-7d6980a282dd" providerId="ADAL" clId="{EABDCB78-D37A-4621-8BE3-4CE49916BF9E}" dt="2024-05-28T21:22:59.541" v="67" actId="478"/>
          <ac:cxnSpMkLst>
            <pc:docMk/>
            <pc:sldMk cId="4106909936" sldId="270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0.328" v="187"/>
        <pc:sldMkLst>
          <pc:docMk/>
          <pc:sldMk cId="2288317796" sldId="2708"/>
        </pc:sldMkLst>
        <pc:cxnChg chg="del">
          <ac:chgData name="Richardson Concha, Luis Enrique" userId="24a26401-76f9-4f62-bb1e-7d6980a282dd" providerId="ADAL" clId="{EABDCB78-D37A-4621-8BE3-4CE49916BF9E}" dt="2024-05-28T21:23:02.245" v="72" actId="478"/>
          <ac:cxnSpMkLst>
            <pc:docMk/>
            <pc:sldMk cId="2288317796" sldId="2708"/>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0.696" v="189"/>
        <pc:sldMkLst>
          <pc:docMk/>
          <pc:sldMk cId="1714933851" sldId="2709"/>
        </pc:sldMkLst>
        <pc:spChg chg="mod">
          <ac:chgData name="Richardson Concha, Luis Enrique" userId="24a26401-76f9-4f62-bb1e-7d6980a282dd" providerId="ADAL" clId="{EABDCB78-D37A-4621-8BE3-4CE49916BF9E}" dt="2024-05-28T21:23:18.858" v="84" actId="6549"/>
          <ac:spMkLst>
            <pc:docMk/>
            <pc:sldMk cId="1714933851" sldId="2709"/>
            <ac:spMk id="36" creationId="{F9506A3C-ED6C-864E-946A-28D52CFBE7C1}"/>
          </ac:spMkLst>
        </pc:spChg>
        <pc:cxnChg chg="del">
          <ac:chgData name="Richardson Concha, Luis Enrique" userId="24a26401-76f9-4f62-bb1e-7d6980a282dd" providerId="ADAL" clId="{EABDCB78-D37A-4621-8BE3-4CE49916BF9E}" dt="2024-05-28T21:23:07.624" v="83" actId="478"/>
          <ac:cxnSpMkLst>
            <pc:docMk/>
            <pc:sldMk cId="1714933851" sldId="270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031" v="191"/>
        <pc:sldMkLst>
          <pc:docMk/>
          <pc:sldMk cId="2868442445" sldId="2710"/>
        </pc:sldMkLst>
        <pc:cxnChg chg="del">
          <ac:chgData name="Richardson Concha, Luis Enrique" userId="24a26401-76f9-4f62-bb1e-7d6980a282dd" providerId="ADAL" clId="{EABDCB78-D37A-4621-8BE3-4CE49916BF9E}" dt="2024-05-28T21:23:24.565" v="89" actId="478"/>
          <ac:cxnSpMkLst>
            <pc:docMk/>
            <pc:sldMk cId="2868442445" sldId="271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367" v="193"/>
        <pc:sldMkLst>
          <pc:docMk/>
          <pc:sldMk cId="1023869374" sldId="2711"/>
        </pc:sldMkLst>
        <pc:cxnChg chg="del">
          <ac:chgData name="Richardson Concha, Luis Enrique" userId="24a26401-76f9-4f62-bb1e-7d6980a282dd" providerId="ADAL" clId="{EABDCB78-D37A-4621-8BE3-4CE49916BF9E}" dt="2024-05-28T21:23:29.159" v="98" actId="478"/>
          <ac:cxnSpMkLst>
            <pc:docMk/>
            <pc:sldMk cId="1023869374" sldId="2711"/>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587" v="195"/>
        <pc:sldMkLst>
          <pc:docMk/>
          <pc:sldMk cId="3788147483" sldId="2712"/>
        </pc:sldMkLst>
        <pc:cxnChg chg="del">
          <ac:chgData name="Richardson Concha, Luis Enrique" userId="24a26401-76f9-4f62-bb1e-7d6980a282dd" providerId="ADAL" clId="{EABDCB78-D37A-4621-8BE3-4CE49916BF9E}" dt="2024-05-28T21:23:31.285" v="103" actId="478"/>
          <ac:cxnSpMkLst>
            <pc:docMk/>
            <pc:sldMk cId="3788147483" sldId="2712"/>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817" v="197"/>
        <pc:sldMkLst>
          <pc:docMk/>
          <pc:sldMk cId="1560505940" sldId="2713"/>
        </pc:sldMkLst>
        <pc:cxnChg chg="del">
          <ac:chgData name="Richardson Concha, Luis Enrique" userId="24a26401-76f9-4f62-bb1e-7d6980a282dd" providerId="ADAL" clId="{EABDCB78-D37A-4621-8BE3-4CE49916BF9E}" dt="2024-05-28T21:23:34.893" v="110" actId="478"/>
          <ac:cxnSpMkLst>
            <pc:docMk/>
            <pc:sldMk cId="1560505940" sldId="2713"/>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2.071" v="199"/>
        <pc:sldMkLst>
          <pc:docMk/>
          <pc:sldMk cId="907430805" sldId="2714"/>
        </pc:sldMkLst>
        <pc:spChg chg="mod">
          <ac:chgData name="Richardson Concha, Luis Enrique" userId="24a26401-76f9-4f62-bb1e-7d6980a282dd" providerId="ADAL" clId="{EABDCB78-D37A-4621-8BE3-4CE49916BF9E}" dt="2024-05-28T21:23:44.256" v="118" actId="33524"/>
          <ac:spMkLst>
            <pc:docMk/>
            <pc:sldMk cId="907430805" sldId="2714"/>
            <ac:spMk id="36" creationId="{F9506A3C-ED6C-864E-946A-28D52CFBE7C1}"/>
          </ac:spMkLst>
        </pc:spChg>
        <pc:cxnChg chg="del">
          <ac:chgData name="Richardson Concha, Luis Enrique" userId="24a26401-76f9-4f62-bb1e-7d6980a282dd" providerId="ADAL" clId="{EABDCB78-D37A-4621-8BE3-4CE49916BF9E}" dt="2024-05-28T21:23:38.151" v="117" actId="478"/>
          <ac:cxnSpMkLst>
            <pc:docMk/>
            <pc:sldMk cId="907430805" sldId="2714"/>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328" v="201"/>
        <pc:sldMkLst>
          <pc:docMk/>
          <pc:sldMk cId="2986248088" sldId="2715"/>
        </pc:sldMkLst>
        <pc:cxnChg chg="del">
          <ac:chgData name="Richardson Concha, Luis Enrique" userId="24a26401-76f9-4f62-bb1e-7d6980a282dd" providerId="ADAL" clId="{EABDCB78-D37A-4621-8BE3-4CE49916BF9E}" dt="2024-05-28T21:23:52.534" v="123" actId="478"/>
          <ac:cxnSpMkLst>
            <pc:docMk/>
            <pc:sldMk cId="2986248088" sldId="2715"/>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583" v="203"/>
        <pc:sldMkLst>
          <pc:docMk/>
          <pc:sldMk cId="1126120352" sldId="2716"/>
        </pc:sldMkLst>
        <pc:cxnChg chg="del">
          <ac:chgData name="Richardson Concha, Luis Enrique" userId="24a26401-76f9-4f62-bb1e-7d6980a282dd" providerId="ADAL" clId="{EABDCB78-D37A-4621-8BE3-4CE49916BF9E}" dt="2024-05-28T21:23:56.422" v="130" actId="478"/>
          <ac:cxnSpMkLst>
            <pc:docMk/>
            <pc:sldMk cId="1126120352" sldId="2716"/>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863" v="205"/>
        <pc:sldMkLst>
          <pc:docMk/>
          <pc:sldMk cId="1789406642" sldId="2717"/>
        </pc:sldMkLst>
        <pc:cxnChg chg="del">
          <ac:chgData name="Richardson Concha, Luis Enrique" userId="24a26401-76f9-4f62-bb1e-7d6980a282dd" providerId="ADAL" clId="{EABDCB78-D37A-4621-8BE3-4CE49916BF9E}" dt="2024-05-28T21:23:59.049" v="137" actId="478"/>
          <ac:cxnSpMkLst>
            <pc:docMk/>
            <pc:sldMk cId="1789406642" sldId="271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065" v="207"/>
        <pc:sldMkLst>
          <pc:docMk/>
          <pc:sldMk cId="348331493" sldId="2718"/>
        </pc:sldMkLst>
        <pc:cxnChg chg="del">
          <ac:chgData name="Richardson Concha, Luis Enrique" userId="24a26401-76f9-4f62-bb1e-7d6980a282dd" providerId="ADAL" clId="{EABDCB78-D37A-4621-8BE3-4CE49916BF9E}" dt="2024-05-28T21:24:02.260" v="142" actId="478"/>
          <ac:cxnSpMkLst>
            <pc:docMk/>
            <pc:sldMk cId="348331493" sldId="2718"/>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280" v="209"/>
        <pc:sldMkLst>
          <pc:docMk/>
          <pc:sldMk cId="2946376700" sldId="2719"/>
        </pc:sldMkLst>
        <pc:cxnChg chg="del">
          <ac:chgData name="Richardson Concha, Luis Enrique" userId="24a26401-76f9-4f62-bb1e-7d6980a282dd" providerId="ADAL" clId="{EABDCB78-D37A-4621-8BE3-4CE49916BF9E}" dt="2024-05-28T21:24:05.988" v="147" actId="478"/>
          <ac:cxnSpMkLst>
            <pc:docMk/>
            <pc:sldMk cId="2946376700" sldId="271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671" v="211"/>
        <pc:sldMkLst>
          <pc:docMk/>
          <pc:sldMk cId="1423717446" sldId="2720"/>
        </pc:sldMkLst>
        <pc:cxnChg chg="del">
          <ac:chgData name="Richardson Concha, Luis Enrique" userId="24a26401-76f9-4f62-bb1e-7d6980a282dd" providerId="ADAL" clId="{EABDCB78-D37A-4621-8BE3-4CE49916BF9E}" dt="2024-05-28T21:24:09.157" v="154" actId="478"/>
          <ac:cxnSpMkLst>
            <pc:docMk/>
            <pc:sldMk cId="1423717446" sldId="272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905" v="213"/>
        <pc:sldMkLst>
          <pc:docMk/>
          <pc:sldMk cId="856661537" sldId="2721"/>
        </pc:sldMkLst>
        <pc:cxnChg chg="del">
          <ac:chgData name="Richardson Concha, Luis Enrique" userId="24a26401-76f9-4f62-bb1e-7d6980a282dd" providerId="ADAL" clId="{EABDCB78-D37A-4621-8BE3-4CE49916BF9E}" dt="2024-05-28T21:24:12.374" v="159" actId="478"/>
          <ac:cxnSpMkLst>
            <pc:docMk/>
            <pc:sldMk cId="856661537" sldId="2721"/>
            <ac:cxnSpMk id="15" creationId="{F194F5C5-DCC7-AB45-A639-702C5D803FCA}"/>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DC3453-78F4-4318-9D44-6E1569AF17C0}" type="datetimeFigureOut">
              <a:rPr lang="es-CL" smtClean="0"/>
              <a:t>17-06-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B9E08F-1B24-4DB6-81FE-6B970D93951C}" type="slidenum">
              <a:rPr lang="es-CL" smtClean="0"/>
              <a:t>‹Nº›</a:t>
            </a:fld>
            <a:endParaRPr lang="es-CL"/>
          </a:p>
        </p:txBody>
      </p:sp>
    </p:spTree>
    <p:extLst>
      <p:ext uri="{BB962C8B-B14F-4D97-AF65-F5344CB8AC3E}">
        <p14:creationId xmlns:p14="http://schemas.microsoft.com/office/powerpoint/2010/main" val="3418593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a:t>
            </a:fld>
            <a:endParaRPr lang="es-CL">
              <a:solidFill>
                <a:prstClr val="black"/>
              </a:solidFill>
              <a:latin typeface="Calibri" panose="020F0502020204030204"/>
            </a:endParaRPr>
          </a:p>
        </p:txBody>
      </p:sp>
    </p:spTree>
    <p:extLst>
      <p:ext uri="{BB962C8B-B14F-4D97-AF65-F5344CB8AC3E}">
        <p14:creationId xmlns:p14="http://schemas.microsoft.com/office/powerpoint/2010/main" val="2843767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2</a:t>
            </a:fld>
            <a:endParaRPr lang="es-CL">
              <a:solidFill>
                <a:prstClr val="black"/>
              </a:solidFill>
              <a:latin typeface="Calibri" panose="020F0502020204030204"/>
            </a:endParaRPr>
          </a:p>
        </p:txBody>
      </p:sp>
    </p:spTree>
    <p:extLst>
      <p:ext uri="{BB962C8B-B14F-4D97-AF65-F5344CB8AC3E}">
        <p14:creationId xmlns:p14="http://schemas.microsoft.com/office/powerpoint/2010/main" val="1057052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3</a:t>
            </a:fld>
            <a:endParaRPr lang="es-CL">
              <a:solidFill>
                <a:prstClr val="black"/>
              </a:solidFill>
              <a:latin typeface="Calibri" panose="020F0502020204030204"/>
            </a:endParaRPr>
          </a:p>
        </p:txBody>
      </p:sp>
    </p:spTree>
    <p:extLst>
      <p:ext uri="{BB962C8B-B14F-4D97-AF65-F5344CB8AC3E}">
        <p14:creationId xmlns:p14="http://schemas.microsoft.com/office/powerpoint/2010/main" val="1995662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4</a:t>
            </a:fld>
            <a:endParaRPr lang="es-CL">
              <a:solidFill>
                <a:prstClr val="black"/>
              </a:solidFill>
              <a:latin typeface="Calibri" panose="020F0502020204030204"/>
            </a:endParaRPr>
          </a:p>
        </p:txBody>
      </p:sp>
    </p:spTree>
    <p:extLst>
      <p:ext uri="{BB962C8B-B14F-4D97-AF65-F5344CB8AC3E}">
        <p14:creationId xmlns:p14="http://schemas.microsoft.com/office/powerpoint/2010/main" val="1138594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5</a:t>
            </a:fld>
            <a:endParaRPr lang="es-CL">
              <a:solidFill>
                <a:prstClr val="black"/>
              </a:solidFill>
              <a:latin typeface="Calibri" panose="020F0502020204030204"/>
            </a:endParaRPr>
          </a:p>
        </p:txBody>
      </p:sp>
    </p:spTree>
    <p:extLst>
      <p:ext uri="{BB962C8B-B14F-4D97-AF65-F5344CB8AC3E}">
        <p14:creationId xmlns:p14="http://schemas.microsoft.com/office/powerpoint/2010/main" val="3384355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6</a:t>
            </a:fld>
            <a:endParaRPr lang="es-CL">
              <a:solidFill>
                <a:prstClr val="black"/>
              </a:solidFill>
              <a:latin typeface="Calibri" panose="020F0502020204030204"/>
            </a:endParaRPr>
          </a:p>
        </p:txBody>
      </p:sp>
    </p:spTree>
    <p:extLst>
      <p:ext uri="{BB962C8B-B14F-4D97-AF65-F5344CB8AC3E}">
        <p14:creationId xmlns:p14="http://schemas.microsoft.com/office/powerpoint/2010/main" val="574613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7</a:t>
            </a:fld>
            <a:endParaRPr lang="es-CL">
              <a:solidFill>
                <a:prstClr val="black"/>
              </a:solidFill>
              <a:latin typeface="Calibri" panose="020F0502020204030204"/>
            </a:endParaRPr>
          </a:p>
        </p:txBody>
      </p:sp>
    </p:spTree>
    <p:extLst>
      <p:ext uri="{BB962C8B-B14F-4D97-AF65-F5344CB8AC3E}">
        <p14:creationId xmlns:p14="http://schemas.microsoft.com/office/powerpoint/2010/main" val="3724062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8</a:t>
            </a:fld>
            <a:endParaRPr lang="es-CL">
              <a:solidFill>
                <a:prstClr val="black"/>
              </a:solidFill>
              <a:latin typeface="Calibri" panose="020F0502020204030204"/>
            </a:endParaRPr>
          </a:p>
        </p:txBody>
      </p:sp>
    </p:spTree>
    <p:extLst>
      <p:ext uri="{BB962C8B-B14F-4D97-AF65-F5344CB8AC3E}">
        <p14:creationId xmlns:p14="http://schemas.microsoft.com/office/powerpoint/2010/main" val="3051296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9</a:t>
            </a:fld>
            <a:endParaRPr lang="es-CL">
              <a:solidFill>
                <a:prstClr val="black"/>
              </a:solidFill>
              <a:latin typeface="Calibri" panose="020F0502020204030204"/>
            </a:endParaRPr>
          </a:p>
        </p:txBody>
      </p:sp>
    </p:spTree>
    <p:extLst>
      <p:ext uri="{BB962C8B-B14F-4D97-AF65-F5344CB8AC3E}">
        <p14:creationId xmlns:p14="http://schemas.microsoft.com/office/powerpoint/2010/main" val="2275050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0</a:t>
            </a:fld>
            <a:endParaRPr lang="es-CL">
              <a:solidFill>
                <a:prstClr val="black"/>
              </a:solidFill>
              <a:latin typeface="Calibri" panose="020F0502020204030204"/>
            </a:endParaRPr>
          </a:p>
        </p:txBody>
      </p:sp>
    </p:spTree>
    <p:extLst>
      <p:ext uri="{BB962C8B-B14F-4D97-AF65-F5344CB8AC3E}">
        <p14:creationId xmlns:p14="http://schemas.microsoft.com/office/powerpoint/2010/main" val="294483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1</a:t>
            </a:fld>
            <a:endParaRPr lang="es-CL">
              <a:solidFill>
                <a:prstClr val="black"/>
              </a:solidFill>
              <a:latin typeface="Calibri" panose="020F0502020204030204"/>
            </a:endParaRPr>
          </a:p>
        </p:txBody>
      </p:sp>
    </p:spTree>
    <p:extLst>
      <p:ext uri="{BB962C8B-B14F-4D97-AF65-F5344CB8AC3E}">
        <p14:creationId xmlns:p14="http://schemas.microsoft.com/office/powerpoint/2010/main" val="3643839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4</a:t>
            </a:fld>
            <a:endParaRPr lang="es-CL">
              <a:solidFill>
                <a:prstClr val="black"/>
              </a:solidFill>
              <a:latin typeface="Calibri" panose="020F0502020204030204"/>
            </a:endParaRPr>
          </a:p>
        </p:txBody>
      </p:sp>
    </p:spTree>
    <p:extLst>
      <p:ext uri="{BB962C8B-B14F-4D97-AF65-F5344CB8AC3E}">
        <p14:creationId xmlns:p14="http://schemas.microsoft.com/office/powerpoint/2010/main" val="668289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2</a:t>
            </a:fld>
            <a:endParaRPr lang="es-CL">
              <a:solidFill>
                <a:prstClr val="black"/>
              </a:solidFill>
              <a:latin typeface="Calibri" panose="020F0502020204030204"/>
            </a:endParaRPr>
          </a:p>
        </p:txBody>
      </p:sp>
    </p:spTree>
    <p:extLst>
      <p:ext uri="{BB962C8B-B14F-4D97-AF65-F5344CB8AC3E}">
        <p14:creationId xmlns:p14="http://schemas.microsoft.com/office/powerpoint/2010/main" val="511588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3</a:t>
            </a:fld>
            <a:endParaRPr lang="es-CL">
              <a:solidFill>
                <a:prstClr val="black"/>
              </a:solidFill>
              <a:latin typeface="Calibri" panose="020F0502020204030204"/>
            </a:endParaRPr>
          </a:p>
        </p:txBody>
      </p:sp>
    </p:spTree>
    <p:extLst>
      <p:ext uri="{BB962C8B-B14F-4D97-AF65-F5344CB8AC3E}">
        <p14:creationId xmlns:p14="http://schemas.microsoft.com/office/powerpoint/2010/main" val="13324506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4</a:t>
            </a:fld>
            <a:endParaRPr lang="es-CL">
              <a:solidFill>
                <a:prstClr val="black"/>
              </a:solidFill>
              <a:latin typeface="Calibri" panose="020F0502020204030204"/>
            </a:endParaRPr>
          </a:p>
        </p:txBody>
      </p:sp>
    </p:spTree>
    <p:extLst>
      <p:ext uri="{BB962C8B-B14F-4D97-AF65-F5344CB8AC3E}">
        <p14:creationId xmlns:p14="http://schemas.microsoft.com/office/powerpoint/2010/main" val="40151888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5</a:t>
            </a:fld>
            <a:endParaRPr lang="es-CL">
              <a:solidFill>
                <a:prstClr val="black"/>
              </a:solidFill>
              <a:latin typeface="Calibri" panose="020F0502020204030204"/>
            </a:endParaRPr>
          </a:p>
        </p:txBody>
      </p:sp>
    </p:spTree>
    <p:extLst>
      <p:ext uri="{BB962C8B-B14F-4D97-AF65-F5344CB8AC3E}">
        <p14:creationId xmlns:p14="http://schemas.microsoft.com/office/powerpoint/2010/main" val="6993417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6</a:t>
            </a:fld>
            <a:endParaRPr lang="es-CL">
              <a:solidFill>
                <a:prstClr val="black"/>
              </a:solidFill>
              <a:latin typeface="Calibri" panose="020F0502020204030204"/>
            </a:endParaRPr>
          </a:p>
        </p:txBody>
      </p:sp>
    </p:spTree>
    <p:extLst>
      <p:ext uri="{BB962C8B-B14F-4D97-AF65-F5344CB8AC3E}">
        <p14:creationId xmlns:p14="http://schemas.microsoft.com/office/powerpoint/2010/main" val="37921266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7</a:t>
            </a:fld>
            <a:endParaRPr lang="es-CL">
              <a:solidFill>
                <a:prstClr val="black"/>
              </a:solidFill>
              <a:latin typeface="Calibri" panose="020F0502020204030204"/>
            </a:endParaRPr>
          </a:p>
        </p:txBody>
      </p:sp>
    </p:spTree>
    <p:extLst>
      <p:ext uri="{BB962C8B-B14F-4D97-AF65-F5344CB8AC3E}">
        <p14:creationId xmlns:p14="http://schemas.microsoft.com/office/powerpoint/2010/main" val="3823321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8</a:t>
            </a:fld>
            <a:endParaRPr lang="es-CL">
              <a:solidFill>
                <a:prstClr val="black"/>
              </a:solidFill>
              <a:latin typeface="Calibri" panose="020F0502020204030204"/>
            </a:endParaRPr>
          </a:p>
        </p:txBody>
      </p:sp>
    </p:spTree>
    <p:extLst>
      <p:ext uri="{BB962C8B-B14F-4D97-AF65-F5344CB8AC3E}">
        <p14:creationId xmlns:p14="http://schemas.microsoft.com/office/powerpoint/2010/main" val="1577769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9</a:t>
            </a:fld>
            <a:endParaRPr lang="es-CL">
              <a:solidFill>
                <a:prstClr val="black"/>
              </a:solidFill>
              <a:latin typeface="Calibri" panose="020F0502020204030204"/>
            </a:endParaRPr>
          </a:p>
        </p:txBody>
      </p:sp>
    </p:spTree>
    <p:extLst>
      <p:ext uri="{BB962C8B-B14F-4D97-AF65-F5344CB8AC3E}">
        <p14:creationId xmlns:p14="http://schemas.microsoft.com/office/powerpoint/2010/main" val="32550091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0</a:t>
            </a:fld>
            <a:endParaRPr lang="es-CL">
              <a:solidFill>
                <a:prstClr val="black"/>
              </a:solidFill>
              <a:latin typeface="Calibri" panose="020F0502020204030204"/>
            </a:endParaRPr>
          </a:p>
        </p:txBody>
      </p:sp>
    </p:spTree>
    <p:extLst>
      <p:ext uri="{BB962C8B-B14F-4D97-AF65-F5344CB8AC3E}">
        <p14:creationId xmlns:p14="http://schemas.microsoft.com/office/powerpoint/2010/main" val="761211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1</a:t>
            </a:fld>
            <a:endParaRPr lang="es-CL">
              <a:solidFill>
                <a:prstClr val="black"/>
              </a:solidFill>
              <a:latin typeface="Calibri" panose="020F0502020204030204"/>
            </a:endParaRPr>
          </a:p>
        </p:txBody>
      </p:sp>
    </p:spTree>
    <p:extLst>
      <p:ext uri="{BB962C8B-B14F-4D97-AF65-F5344CB8AC3E}">
        <p14:creationId xmlns:p14="http://schemas.microsoft.com/office/powerpoint/2010/main" val="552250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odas aquellas superficies de trabajo que presenten desnivel, superior a un metro del suelo adyacente, deben estar provistas de barandillas o de otros sistemas de protección equivalentes cuyo objeto será evitar posibles caídas accidentales de los trabajadores. Las barandillas tendrán como mínimo una altura de 90 cm (capaz de soportar al menos el peso de una persona) y dispondrán de una protección que impida el paso o deslizamiento por debajo de las mismas o la caída de objetos o persona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Aquellas zonas en las que no sea viable la instalación de protecciones colectivas como las indicadas anteriormente, es conveniente que sean señalizadas mediante franjas alternas amarillas y negras y señalización específica de riesgo de caídas a distinto nivel en la zona donde se identifique el peligro.</a:t>
            </a:r>
          </a:p>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5</a:t>
            </a:fld>
            <a:endParaRPr lang="es-CL">
              <a:solidFill>
                <a:prstClr val="black"/>
              </a:solidFill>
              <a:latin typeface="Calibri" panose="020F0502020204030204"/>
            </a:endParaRPr>
          </a:p>
        </p:txBody>
      </p:sp>
    </p:spTree>
    <p:extLst>
      <p:ext uri="{BB962C8B-B14F-4D97-AF65-F5344CB8AC3E}">
        <p14:creationId xmlns:p14="http://schemas.microsoft.com/office/powerpoint/2010/main" val="14089671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2</a:t>
            </a:fld>
            <a:endParaRPr lang="es-CL">
              <a:solidFill>
                <a:prstClr val="black"/>
              </a:solidFill>
              <a:latin typeface="Calibri" panose="020F0502020204030204"/>
            </a:endParaRPr>
          </a:p>
        </p:txBody>
      </p:sp>
    </p:spTree>
    <p:extLst>
      <p:ext uri="{BB962C8B-B14F-4D97-AF65-F5344CB8AC3E}">
        <p14:creationId xmlns:p14="http://schemas.microsoft.com/office/powerpoint/2010/main" val="31760860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3</a:t>
            </a:fld>
            <a:endParaRPr lang="es-CL">
              <a:solidFill>
                <a:prstClr val="black"/>
              </a:solidFill>
              <a:latin typeface="Calibri" panose="020F0502020204030204"/>
            </a:endParaRPr>
          </a:p>
        </p:txBody>
      </p:sp>
    </p:spTree>
    <p:extLst>
      <p:ext uri="{BB962C8B-B14F-4D97-AF65-F5344CB8AC3E}">
        <p14:creationId xmlns:p14="http://schemas.microsoft.com/office/powerpoint/2010/main" val="2441153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6</a:t>
            </a:fld>
            <a:endParaRPr lang="es-CL">
              <a:solidFill>
                <a:prstClr val="black"/>
              </a:solidFill>
              <a:latin typeface="Calibri" panose="020F0502020204030204"/>
            </a:endParaRPr>
          </a:p>
        </p:txBody>
      </p:sp>
    </p:spTree>
    <p:extLst>
      <p:ext uri="{BB962C8B-B14F-4D97-AF65-F5344CB8AC3E}">
        <p14:creationId xmlns:p14="http://schemas.microsoft.com/office/powerpoint/2010/main" val="961886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7</a:t>
            </a:fld>
            <a:endParaRPr lang="es-CL">
              <a:solidFill>
                <a:prstClr val="black"/>
              </a:solidFill>
              <a:latin typeface="Calibri" panose="020F0502020204030204"/>
            </a:endParaRPr>
          </a:p>
        </p:txBody>
      </p:sp>
    </p:spTree>
    <p:extLst>
      <p:ext uri="{BB962C8B-B14F-4D97-AF65-F5344CB8AC3E}">
        <p14:creationId xmlns:p14="http://schemas.microsoft.com/office/powerpoint/2010/main" val="3129557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8</a:t>
            </a:fld>
            <a:endParaRPr lang="es-CL">
              <a:solidFill>
                <a:prstClr val="black"/>
              </a:solidFill>
              <a:latin typeface="Calibri" panose="020F0502020204030204"/>
            </a:endParaRPr>
          </a:p>
        </p:txBody>
      </p:sp>
    </p:spTree>
    <p:extLst>
      <p:ext uri="{BB962C8B-B14F-4D97-AF65-F5344CB8AC3E}">
        <p14:creationId xmlns:p14="http://schemas.microsoft.com/office/powerpoint/2010/main" val="3038765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9</a:t>
            </a:fld>
            <a:endParaRPr lang="es-CL">
              <a:solidFill>
                <a:prstClr val="black"/>
              </a:solidFill>
              <a:latin typeface="Calibri" panose="020F0502020204030204"/>
            </a:endParaRPr>
          </a:p>
        </p:txBody>
      </p:sp>
    </p:spTree>
    <p:extLst>
      <p:ext uri="{BB962C8B-B14F-4D97-AF65-F5344CB8AC3E}">
        <p14:creationId xmlns:p14="http://schemas.microsoft.com/office/powerpoint/2010/main" val="3460139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0</a:t>
            </a:fld>
            <a:endParaRPr lang="es-CL">
              <a:solidFill>
                <a:prstClr val="black"/>
              </a:solidFill>
              <a:latin typeface="Calibri" panose="020F0502020204030204"/>
            </a:endParaRPr>
          </a:p>
        </p:txBody>
      </p:sp>
    </p:spTree>
    <p:extLst>
      <p:ext uri="{BB962C8B-B14F-4D97-AF65-F5344CB8AC3E}">
        <p14:creationId xmlns:p14="http://schemas.microsoft.com/office/powerpoint/2010/main" val="3596837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1</a:t>
            </a:fld>
            <a:endParaRPr lang="es-CL">
              <a:solidFill>
                <a:prstClr val="black"/>
              </a:solidFill>
              <a:latin typeface="Calibri" panose="020F0502020204030204"/>
            </a:endParaRPr>
          </a:p>
        </p:txBody>
      </p:sp>
    </p:spTree>
    <p:extLst>
      <p:ext uri="{BB962C8B-B14F-4D97-AF65-F5344CB8AC3E}">
        <p14:creationId xmlns:p14="http://schemas.microsoft.com/office/powerpoint/2010/main" val="3952034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68DBCAC-AA37-4548-93C6-256A0C525BF2}"/>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21E4510B-D302-EC44-BFBA-9ED113C5EC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C76BBB46-B932-0F46-A127-187036D6CE22}"/>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5" name="Marcador de pie de página 4">
            <a:extLst>
              <a:ext uri="{FF2B5EF4-FFF2-40B4-BE49-F238E27FC236}">
                <a16:creationId xmlns:a16="http://schemas.microsoft.com/office/drawing/2014/main" xmlns="" id="{7F5088D0-7375-7740-8B05-B7AA5C4A5318}"/>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4C4D206F-2820-A741-8A34-8FD85346C2BA}"/>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543110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7B6765E-ED4C-1B41-858E-07B47C1F9F1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1840FB98-9CE3-154B-80A6-A2610925094E}"/>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6B938A1-51B0-2442-9869-16523380D0F6}"/>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5" name="Marcador de pie de página 4">
            <a:extLst>
              <a:ext uri="{FF2B5EF4-FFF2-40B4-BE49-F238E27FC236}">
                <a16:creationId xmlns:a16="http://schemas.microsoft.com/office/drawing/2014/main" xmlns="" id="{43186E6E-3981-944B-B029-7D997B721D96}"/>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CD07BD3B-C3EF-1543-921A-C8A9E8C039A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696565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0F46F1D-9E6F-EE4B-8DC2-EC22CAD9D2FF}"/>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4C61D717-AD5D-0142-B2A4-C907D3ED7889}"/>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235B326-E5A1-984A-8771-E530988AE223}"/>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5" name="Marcador de pie de página 4">
            <a:extLst>
              <a:ext uri="{FF2B5EF4-FFF2-40B4-BE49-F238E27FC236}">
                <a16:creationId xmlns:a16="http://schemas.microsoft.com/office/drawing/2014/main" xmlns="" id="{8BDEAAB3-4A02-314E-ACEB-9F15256F36E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5576397B-8F98-664C-AFCE-95E3D204F900}"/>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83110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893" y="385812"/>
            <a:ext cx="1297221"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1881531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C5CC303-66AA-484E-B874-D360545DFDA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7106E5D0-87A3-854F-B0B5-B151D85887BD}"/>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C8BC1CBC-F843-0242-82F7-0146D924C885}"/>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5" name="Marcador de pie de página 4">
            <a:extLst>
              <a:ext uri="{FF2B5EF4-FFF2-40B4-BE49-F238E27FC236}">
                <a16:creationId xmlns:a16="http://schemas.microsoft.com/office/drawing/2014/main" xmlns="" id="{4D5F3569-B0AA-CF45-BA54-F05472B3723A}"/>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AC70D2F6-5F87-D94B-A8FA-AEC3E235531D}"/>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340004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CD86168-7965-B742-821E-DCEB007A607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D3154592-68EB-E842-AD5F-3B726B800B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5B0F0586-C58F-7E43-9D41-BEAF7C3869BE}"/>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5" name="Marcador de pie de página 4">
            <a:extLst>
              <a:ext uri="{FF2B5EF4-FFF2-40B4-BE49-F238E27FC236}">
                <a16:creationId xmlns:a16="http://schemas.microsoft.com/office/drawing/2014/main" xmlns="" id="{53BA7C49-0AA9-2C4A-A5DF-81346C7A98A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E53DC825-35DD-1747-951E-E68D3621EBC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381526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2BC35FE-30D9-564C-9730-DF617AF69302}"/>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2B953640-6000-454E-8E87-D2B04EF14795}"/>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A1388B3C-8832-EA41-BEE7-C4D0FACBF14A}"/>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A0E70DC-9532-D64F-8B85-104362BDC98F}"/>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6" name="Marcador de pie de página 5">
            <a:extLst>
              <a:ext uri="{FF2B5EF4-FFF2-40B4-BE49-F238E27FC236}">
                <a16:creationId xmlns:a16="http://schemas.microsoft.com/office/drawing/2014/main" xmlns="" id="{9631F8A5-E86E-504F-9E60-17231546479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B19C382B-B50A-BB46-98AB-0EB6BCB9428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48846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9365A09-D6D0-EC4A-AF0C-74AB8FC4339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99E22301-4AD6-6F48-9364-DFC86640C9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93BEBA7B-358D-8840-B59C-846E4EF6E9D9}"/>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CD2347E9-6B4E-CC47-8CE8-0B9A9F3182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BB28F4CC-2EF6-534D-9268-7EED6EFB6610}"/>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9ABCD811-E236-A244-A3CA-63950BFF9828}"/>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8" name="Marcador de pie de página 7">
            <a:extLst>
              <a:ext uri="{FF2B5EF4-FFF2-40B4-BE49-F238E27FC236}">
                <a16:creationId xmlns:a16="http://schemas.microsoft.com/office/drawing/2014/main" xmlns="" id="{C1F80104-E725-244C-8043-717E651F477C}"/>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xmlns="" id="{024EB772-B051-B742-979E-13FCAFA81C3F}"/>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42979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0F9125F-C863-1348-8EC6-C81D542C3955}"/>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6F27AB6E-3A07-3144-8FDE-C1EDB996EC6E}"/>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4" name="Marcador de pie de página 3">
            <a:extLst>
              <a:ext uri="{FF2B5EF4-FFF2-40B4-BE49-F238E27FC236}">
                <a16:creationId xmlns:a16="http://schemas.microsoft.com/office/drawing/2014/main" xmlns="" id="{6C833275-4AA5-9146-9AD5-D16167055F93}"/>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xmlns="" id="{0EF8CF59-E5F3-DB41-B453-F8A0FA93FDFB}"/>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183210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E188D6B1-6C93-4F46-9C70-5F4AA2BFF135}"/>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3" name="Marcador de pie de página 2">
            <a:extLst>
              <a:ext uri="{FF2B5EF4-FFF2-40B4-BE49-F238E27FC236}">
                <a16:creationId xmlns:a16="http://schemas.microsoft.com/office/drawing/2014/main" xmlns="" id="{02D85ADF-8417-0D4A-BC70-400F0CE1B155}"/>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xmlns="" id="{D4C8CA3F-227F-5748-B25E-874575D48784}"/>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683713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A915825C-4911-8249-98D4-2DDA89E7B0F6}"/>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D40189BF-5B50-4045-AD6A-8450D55F84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B27F45DB-3CF2-5B43-B272-EB12C93660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9A8FE8EA-BE28-844F-9411-BF947E8EC291}"/>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6" name="Marcador de pie de página 5">
            <a:extLst>
              <a:ext uri="{FF2B5EF4-FFF2-40B4-BE49-F238E27FC236}">
                <a16:creationId xmlns:a16="http://schemas.microsoft.com/office/drawing/2014/main" xmlns="" id="{1B5CD1AA-A0B8-FB46-A945-F72DE832240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316F4101-BC03-8C4C-9B99-356D1B56F187}"/>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54173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5ADC524-7429-4F4E-820E-2E28C39830C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AEDFABC-4CCB-B743-8AF5-A3A17D1AF1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A95E1AEB-B19B-D54A-95BF-DC377D8F9B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E2E75F3-9D1D-9A43-B581-08A656764A72}"/>
              </a:ext>
            </a:extLst>
          </p:cNvPr>
          <p:cNvSpPr>
            <a:spLocks noGrp="1"/>
          </p:cNvSpPr>
          <p:nvPr>
            <p:ph type="dt" sz="half" idx="10"/>
          </p:nvPr>
        </p:nvSpPr>
        <p:spPr/>
        <p:txBody>
          <a:bodyPr/>
          <a:lstStyle/>
          <a:p>
            <a:fld id="{9D9182F8-5C10-3E4C-A247-97524CDAFCC9}" type="datetimeFigureOut">
              <a:rPr lang="es-CL" smtClean="0"/>
              <a:t>17-06-2024</a:t>
            </a:fld>
            <a:endParaRPr lang="es-CL"/>
          </a:p>
        </p:txBody>
      </p:sp>
      <p:sp>
        <p:nvSpPr>
          <p:cNvPr id="6" name="Marcador de pie de página 5">
            <a:extLst>
              <a:ext uri="{FF2B5EF4-FFF2-40B4-BE49-F238E27FC236}">
                <a16:creationId xmlns:a16="http://schemas.microsoft.com/office/drawing/2014/main" xmlns="" id="{A2AFC897-7400-BF43-B225-2AEBE8EA8241}"/>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F8A8F8FC-9248-1D40-9D79-73047545F50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750166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xmlns="" id="{415FA733-3FCA-59CA-9094-371EC37EE33C}"/>
              </a:ext>
            </a:extLst>
          </p:cNvPr>
          <p:cNvGraphicFramePr>
            <a:graphicFrameLocks noChangeAspect="1"/>
          </p:cNvGraphicFramePr>
          <p:nvPr userDrawn="1">
            <p:custDataLst>
              <p:tags r:id="rId15"/>
            </p:custDataLst>
            <p:extLst>
              <p:ext uri="{D42A27DB-BD31-4B8C-83A1-F6EECF244321}">
                <p14:modId xmlns:p14="http://schemas.microsoft.com/office/powerpoint/2010/main" val="370413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de think-cell" r:id="rId16" imgW="384" imgH="384" progId="TCLayout.ActiveDocument.1">
                  <p:embed/>
                </p:oleObj>
              </mc:Choice>
              <mc:Fallback>
                <p:oleObj name="Diapositiva de think-cell" r:id="rId16" imgW="384" imgH="384" progId="TCLayout.ActiveDocument.1">
                  <p:embed/>
                  <p:pic>
                    <p:nvPicPr>
                      <p:cNvPr id="8" name="think-cell data - do not delete" hidden="1">
                        <a:extLst>
                          <a:ext uri="{FF2B5EF4-FFF2-40B4-BE49-F238E27FC236}">
                            <a16:creationId xmlns:a16="http://schemas.microsoft.com/office/drawing/2014/main" xmlns="" id="{415FA733-3FCA-59CA-9094-371EC37EE33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xmlns="" id="{72E50FB4-BE14-5E4E-8AD9-F1F524DA03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Haga clic para modificar el estilo de título del patrón</a:t>
            </a:r>
            <a:endParaRPr lang="es-CL" dirty="0"/>
          </a:p>
        </p:txBody>
      </p:sp>
      <p:sp>
        <p:nvSpPr>
          <p:cNvPr id="3" name="Marcador de texto 2">
            <a:extLst>
              <a:ext uri="{FF2B5EF4-FFF2-40B4-BE49-F238E27FC236}">
                <a16:creationId xmlns:a16="http://schemas.microsoft.com/office/drawing/2014/main" xmlns="" id="{80AC09C7-6860-4041-97B8-9B590184B4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dirty="0"/>
              <a:t>Editar los estilos de texto del patrón
Segundo nivel
Tercer nivel
Cuarto nivel
Quinto nivel</a:t>
            </a:r>
            <a:endParaRPr lang="es-CL" dirty="0"/>
          </a:p>
        </p:txBody>
      </p:sp>
      <p:sp>
        <p:nvSpPr>
          <p:cNvPr id="4" name="Marcador de fecha 3">
            <a:extLst>
              <a:ext uri="{FF2B5EF4-FFF2-40B4-BE49-F238E27FC236}">
                <a16:creationId xmlns:a16="http://schemas.microsoft.com/office/drawing/2014/main" xmlns="" id="{625624F2-2776-0C46-A51B-F8C2F56AD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CHS Nueva Serif" pitchFamily="2" charset="0"/>
              </a:defRPr>
            </a:lvl1pPr>
          </a:lstStyle>
          <a:p>
            <a:fld id="{9D9182F8-5C10-3E4C-A247-97524CDAFCC9}" type="datetimeFigureOut">
              <a:rPr lang="es-CL" smtClean="0"/>
              <a:pPr/>
              <a:t>17-06-2024</a:t>
            </a:fld>
            <a:endParaRPr lang="es-CL" dirty="0"/>
          </a:p>
        </p:txBody>
      </p:sp>
      <p:sp>
        <p:nvSpPr>
          <p:cNvPr id="5" name="Marcador de pie de página 4">
            <a:extLst>
              <a:ext uri="{FF2B5EF4-FFF2-40B4-BE49-F238E27FC236}">
                <a16:creationId xmlns:a16="http://schemas.microsoft.com/office/drawing/2014/main" xmlns="" id="{BF0E7F77-1E51-EF44-B1AA-CA41F3CC02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CHS Nueva Serif" pitchFamily="2" charset="0"/>
              </a:defRPr>
            </a:lvl1pPr>
          </a:lstStyle>
          <a:p>
            <a:endParaRPr lang="es-CL" dirty="0"/>
          </a:p>
        </p:txBody>
      </p:sp>
      <p:sp>
        <p:nvSpPr>
          <p:cNvPr id="6" name="Marcador de número de diapositiva 5">
            <a:extLst>
              <a:ext uri="{FF2B5EF4-FFF2-40B4-BE49-F238E27FC236}">
                <a16:creationId xmlns:a16="http://schemas.microsoft.com/office/drawing/2014/main" xmlns="" id="{EB52312C-3F71-1D40-9096-1DF2135C85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CHS Nueva Serif" pitchFamily="2" charset="0"/>
              </a:defRPr>
            </a:lvl1pPr>
          </a:lstStyle>
          <a:p>
            <a:fld id="{DD1E5098-B027-864A-A66F-37E1102C26DC}" type="slidenum">
              <a:rPr lang="es-CL" smtClean="0"/>
              <a:pPr/>
              <a:t>‹Nº›</a:t>
            </a:fld>
            <a:endParaRPr lang="es-CL" dirty="0"/>
          </a:p>
        </p:txBody>
      </p:sp>
    </p:spTree>
    <p:extLst>
      <p:ext uri="{BB962C8B-B14F-4D97-AF65-F5344CB8AC3E}">
        <p14:creationId xmlns:p14="http://schemas.microsoft.com/office/powerpoint/2010/main" val="488059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ACHS Nueva Serif"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CHS Nueva Serif"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12.xml"/><Relationship Id="rId9" Type="http://schemas.openxmlformats.org/officeDocument/2006/relationships/image" Target="../media/image19.jpeg"/></Relationships>
</file>

<file path=ppt/slides/_rels/slide1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7.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9.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2.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0.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3.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1.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2.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5.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4.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5.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8.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29.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7.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8.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9.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0.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1.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38.png"/><Relationship Id="rId5" Type="http://schemas.openxmlformats.org/officeDocument/2006/relationships/image" Target="../media/image38.svg"/><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71.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7.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12.xml"/><Relationship Id="rId9"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xmlns="" id="{03C2254C-7F64-A57C-595C-D9FC658AC1CE}"/>
              </a:ext>
            </a:extLst>
          </p:cNvPr>
          <p:cNvGraphicFramePr>
            <a:graphicFrameLocks noChangeAspect="1"/>
          </p:cNvGraphicFramePr>
          <p:nvPr>
            <p:custDataLst>
              <p:tags r:id="rId3"/>
            </p:custDataLst>
            <p:extLst>
              <p:ext uri="{D42A27DB-BD31-4B8C-83A1-F6EECF244321}">
                <p14:modId xmlns:p14="http://schemas.microsoft.com/office/powerpoint/2010/main" val="427053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de think-cell" r:id="rId5" imgW="384" imgH="384" progId="TCLayout.ActiveDocument.1">
                  <p:embed/>
                </p:oleObj>
              </mc:Choice>
              <mc:Fallback>
                <p:oleObj name="Diapositiva de think-cell" r:id="rId5" imgW="384" imgH="384" progId="TCLayout.ActiveDocument.1">
                  <p:embed/>
                  <p:pic>
                    <p:nvPicPr>
                      <p:cNvPr id="3" name="think-cell data - do not delete" hidden="1">
                        <a:extLst>
                          <a:ext uri="{FF2B5EF4-FFF2-40B4-BE49-F238E27FC236}">
                            <a16:creationId xmlns:a16="http://schemas.microsoft.com/office/drawing/2014/main" xmlns="" id="{03C2254C-7F64-A57C-595C-D9FC658AC1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Imagen 7" descr="Imagen que contiene persona, interior, hombre, parado&#10;&#10;Descripción generada automáticamente">
            <a:extLst>
              <a:ext uri="{FF2B5EF4-FFF2-40B4-BE49-F238E27FC236}">
                <a16:creationId xmlns:a16="http://schemas.microsoft.com/office/drawing/2014/main" xmlns="" id="{3416915C-DB1E-32EB-3CE1-45657278A00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763588" y="-2"/>
            <a:ext cx="7428411" cy="6858000"/>
          </a:xfrm>
          <a:prstGeom prst="rect">
            <a:avLst/>
          </a:prstGeom>
        </p:spPr>
      </p:pic>
      <p:sp>
        <p:nvSpPr>
          <p:cNvPr id="4" name="Text Placeholder 9">
            <a:extLst>
              <a:ext uri="{FF2B5EF4-FFF2-40B4-BE49-F238E27FC236}">
                <a16:creationId xmlns:a16="http://schemas.microsoft.com/office/drawing/2014/main" xmlns="" id="{8E102811-4AA1-1D45-A94D-ABC3DAF55731}"/>
              </a:ext>
            </a:extLst>
          </p:cNvPr>
          <p:cNvSpPr txBox="1">
            <a:spLocks/>
          </p:cNvSpPr>
          <p:nvPr/>
        </p:nvSpPr>
        <p:spPr>
          <a:xfrm>
            <a:off x="380999" y="3995678"/>
            <a:ext cx="3496235" cy="642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2400" dirty="0">
                <a:solidFill>
                  <a:srgbClr val="15C047"/>
                </a:solidFill>
                <a:latin typeface="ACHS Nueva Sans Medium" pitchFamily="2" charset="0"/>
                <a:cs typeface="Arial" panose="020B0604020202020204" pitchFamily="34" charset="0"/>
              </a:rPr>
              <a:t>Charla/Presencial</a:t>
            </a:r>
          </a:p>
        </p:txBody>
      </p:sp>
      <p:pic>
        <p:nvPicPr>
          <p:cNvPr id="5" name="Imagen 4">
            <a:extLst>
              <a:ext uri="{FF2B5EF4-FFF2-40B4-BE49-F238E27FC236}">
                <a16:creationId xmlns:a16="http://schemas.microsoft.com/office/drawing/2014/main" xmlns="" id="{2BAFCD49-1BAE-1A4E-B050-5EAAA35829C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0999" y="5797943"/>
            <a:ext cx="1287590" cy="526006"/>
          </a:xfrm>
          <a:prstGeom prst="rect">
            <a:avLst/>
          </a:prstGeom>
        </p:spPr>
      </p:pic>
      <p:sp>
        <p:nvSpPr>
          <p:cNvPr id="6" name="Rectángulo 5">
            <a:extLst>
              <a:ext uri="{FF2B5EF4-FFF2-40B4-BE49-F238E27FC236}">
                <a16:creationId xmlns:a16="http://schemas.microsoft.com/office/drawing/2014/main" xmlns="" id="{A412EC63-7B19-9143-8828-5510B74BCE97}"/>
              </a:ext>
            </a:extLst>
          </p:cNvPr>
          <p:cNvSpPr/>
          <p:nvPr/>
        </p:nvSpPr>
        <p:spPr>
          <a:xfrm>
            <a:off x="380999" y="566678"/>
            <a:ext cx="4495801" cy="1754326"/>
          </a:xfrm>
          <a:prstGeom prst="rect">
            <a:avLst/>
          </a:prstGeom>
        </p:spPr>
        <p:txBody>
          <a:bodyPr wrap="square">
            <a:spAutoFit/>
          </a:bodyPr>
          <a:lstStyle/>
          <a:p>
            <a:pPr defTabSz="914126">
              <a:defRPr/>
            </a:pPr>
            <a:r>
              <a:rPr lang="es-ES" sz="3600" b="1" dirty="0">
                <a:latin typeface="ACHS Nueva Serif SemiBold" pitchFamily="2" charset="0"/>
                <a:cs typeface="Arial" panose="020B0604020202020204" pitchFamily="34" charset="0"/>
              </a:rPr>
              <a:t>Seguridad en packing y cámaras frigoríficas</a:t>
            </a:r>
            <a:endParaRPr lang="es-CL" sz="3600" b="1" dirty="0">
              <a:latin typeface="ACHS Nueva Serif SemiBold" pitchFamily="2" charset="0"/>
              <a:cs typeface="Arial" panose="020B0604020202020204" pitchFamily="34" charset="0"/>
            </a:endParaRPr>
          </a:p>
        </p:txBody>
      </p:sp>
    </p:spTree>
    <p:custDataLst>
      <p:tags r:id="rId2"/>
    </p:custDataLst>
    <p:extLst>
      <p:ext uri="{BB962C8B-B14F-4D97-AF65-F5344CB8AC3E}">
        <p14:creationId xmlns:p14="http://schemas.microsoft.com/office/powerpoint/2010/main" val="2989611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793845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interior, edificio, tabla, pequeño&#10;&#10;Descripción generada automáticamente">
            <a:extLst>
              <a:ext uri="{FF2B5EF4-FFF2-40B4-BE49-F238E27FC236}">
                <a16:creationId xmlns:a16="http://schemas.microsoft.com/office/drawing/2014/main" xmlns="" id="{7BB2B4E5-2851-8093-3359-C7FE44F2728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4247317"/>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3"/>
            </a:pPr>
            <a:r>
              <a:rPr lang="es-CL" altLang="es-CL" b="1" dirty="0">
                <a:solidFill>
                  <a:srgbClr val="0FC044"/>
                </a:solidFill>
                <a:latin typeface="ACHS Nueva Sans Medium" pitchFamily="2" charset="0"/>
                <a:cs typeface="Arial" panose="020B0604020202020204" pitchFamily="34" charset="0"/>
              </a:rPr>
              <a:t>Golpe contra objetos inmóvile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pasillos por los que circulan personas serán de 110 cm. como mínimo, salvo en aquellos pasillos entre máquinas donde la distancia mínima será de 150 cm., delimitado mediante líneas amarillas en el suel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pisos cercanos a los puestos de trabajo, así como los pasillos de tránsito, se mantendrán libres de todo obstáculo que impida un fácil y seguro desplazamiento de los trabajadore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señalizarán las partes de maquinaria salientes, en espacios estrechos, con bandas amarillas y negras para su fácil identificación.</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0968809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824954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descr="Sistema de Vaciado y Vaciadores de bins de frutas y hortalizas">
            <a:extLst>
              <a:ext uri="{FF2B5EF4-FFF2-40B4-BE49-F238E27FC236}">
                <a16:creationId xmlns:a16="http://schemas.microsoft.com/office/drawing/2014/main" xmlns="" id="{51B170F2-1250-927A-768B-F3EF00E9C37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39" y="0"/>
            <a:ext cx="4032345"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1754326"/>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4"/>
            </a:pPr>
            <a:r>
              <a:rPr lang="es-CL" altLang="es-CL" b="1" dirty="0">
                <a:solidFill>
                  <a:srgbClr val="0FC044"/>
                </a:solidFill>
                <a:latin typeface="ACHS Nueva Sans Medium" pitchFamily="2" charset="0"/>
                <a:cs typeface="Arial" panose="020B0604020202020204" pitchFamily="34" charset="0"/>
              </a:rPr>
              <a:t>Golpe contra objetos móvile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lementos móviles de los equipos y maquinarias de trabajo como cadenas de transmisión, rodamientos en máquinas embalajes, empaquetadoras de envases, equipos de vaciado de bines, equipos de lavado, etc.</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168152505"/>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517948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bicicleta, exterior, pequeño, raqueta&#10;&#10;Descripción generada automáticamente">
            <a:extLst>
              <a:ext uri="{FF2B5EF4-FFF2-40B4-BE49-F238E27FC236}">
                <a16:creationId xmlns:a16="http://schemas.microsoft.com/office/drawing/2014/main" xmlns="" id="{7C38C65D-73D0-FBF4-EAB4-7F1BBAB2507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3176"/>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5078313"/>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4"/>
            </a:pPr>
            <a:r>
              <a:rPr lang="es-CL" altLang="es-CL" b="1" dirty="0">
                <a:solidFill>
                  <a:srgbClr val="0FC044"/>
                </a:solidFill>
                <a:latin typeface="ACHS Nueva Sans Medium" pitchFamily="2" charset="0"/>
                <a:cs typeface="Arial" panose="020B0604020202020204" pitchFamily="34" charset="0"/>
              </a:rPr>
              <a:t>Golpe contra objetos móvile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trabajadores que manipulen los equipos considerados críticos deben estar autorizados y contarán con la información y formación necesari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resguardos y/o dispositivos de seguridad existentes en la maquinaria deben ser utilizados de la forma y en las condiciones previstas por el fabricante.</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máquinas y equipos de trabajo deben poseer dispositivos de paradas de emergenci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i estos riesgos no pueden ser evitados en su origen deberán advertirse de su existencia mediante señalización adecuad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máquinas y equipos de trabajo deben estar sujetos a programas periódicos de mantención.</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47965798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3837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054" name="Picture 6" descr="Cutters de Seguridad Slice | De Máquinas y Herramientas">
            <a:extLst>
              <a:ext uri="{FF2B5EF4-FFF2-40B4-BE49-F238E27FC236}">
                <a16:creationId xmlns:a16="http://schemas.microsoft.com/office/drawing/2014/main" xmlns="" id="{8D10BD91-C9D6-FEF7-62EA-9FA150786766}"/>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0"/>
            <a:ext cx="4032344"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862322"/>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5"/>
            </a:pPr>
            <a:r>
              <a:rPr lang="es-CL" altLang="es-CL" b="1" dirty="0">
                <a:solidFill>
                  <a:srgbClr val="0FC044"/>
                </a:solidFill>
                <a:latin typeface="ACHS Nueva Sans Medium" pitchFamily="2" charset="0"/>
                <a:cs typeface="Arial" panose="020B0604020202020204" pitchFamily="34" charset="0"/>
              </a:rPr>
              <a:t>Golpes y cortes por objetos o envase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manipulación de cuchillos o corta cartones  para la apertura product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or el contacto con el borde afilado de las huinchas metálicas utilizadas en el enzunchado de pallet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or el contacto con corchetes sobresalientes de las cajas utilizadas para el embalaje de los producto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872246441"/>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654152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Imagen 7" descr="Grupo de personas posando para una foto&#10;&#10;Descripción generada automáticamente">
            <a:extLst>
              <a:ext uri="{FF2B5EF4-FFF2-40B4-BE49-F238E27FC236}">
                <a16:creationId xmlns:a16="http://schemas.microsoft.com/office/drawing/2014/main" xmlns="" id="{21FD04E7-771C-AC39-B212-AC909C50B9C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416320"/>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5"/>
            </a:pPr>
            <a:r>
              <a:rPr lang="es-CL" altLang="es-CL" b="1" dirty="0">
                <a:solidFill>
                  <a:srgbClr val="0FC044"/>
                </a:solidFill>
                <a:latin typeface="ACHS Nueva Sans Medium" pitchFamily="2" charset="0"/>
                <a:cs typeface="Arial" panose="020B0604020202020204" pitchFamily="34" charset="0"/>
              </a:rPr>
              <a:t>Golpes y cortes por objetos o envase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Impartir formación e información específica a los trabajadores acerca de los riesgos derivados de su trabajo y manipulación de utensilios de corte.</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roporcionar guantes de protección que posean la resistencia elevada al corte y el rasgad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Mecanizar, lo máximo posible, los procesos de enzunchado de pallets o, en su defecto, minimizar que los trabajadores manipulen de forma manual las huinchas metálicas. </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78759793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67506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camioneta, edificio, exterior, estacionado&#10;&#10;Descripción generada automáticamente">
            <a:extLst>
              <a:ext uri="{FF2B5EF4-FFF2-40B4-BE49-F238E27FC236}">
                <a16:creationId xmlns:a16="http://schemas.microsoft.com/office/drawing/2014/main" xmlns="" id="{F8629B54-58CD-2B72-F34F-AB5E26C29ED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3176"/>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585323"/>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6"/>
            </a:pPr>
            <a:r>
              <a:rPr lang="es-CL" altLang="es-CL" b="1" dirty="0">
                <a:solidFill>
                  <a:srgbClr val="0FC044"/>
                </a:solidFill>
                <a:latin typeface="ACHS Nueva Sans Medium" pitchFamily="2" charset="0"/>
                <a:cs typeface="Arial" panose="020B0604020202020204" pitchFamily="34" charset="0"/>
              </a:rPr>
              <a:t>Atrapamiento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existencia de partes móviles accesibles de equipos de trabaj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Vuelco de vehículos, principalmente de grúas horquillas o de apiladores eléctric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Desplome de productos almacenados (cajas, pallets, etc.)</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866197655"/>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6"/>
            </a:pPr>
            <a:r>
              <a:rPr lang="es-CL" altLang="es-CL" b="1" dirty="0">
                <a:solidFill>
                  <a:srgbClr val="0FC044"/>
                </a:solidFill>
                <a:latin typeface="ACHS Nueva Sans Medium" pitchFamily="2" charset="0"/>
                <a:cs typeface="Arial" panose="020B0604020202020204" pitchFamily="34" charset="0"/>
              </a:rPr>
              <a:t>Atrapamient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equipos de trabajo que lo requieran deben disponer de los resguardos y dispositivos de seguridad necesarios que aíslen al trabajador de los elementos peligros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ropa de trabajo proporcionada a los trabajadores no debe ser holgada con el fin de evitar posibles atrapamientos de esta. Asimismo, los trabajadores no deben llevar objetos que puedan engancharse como anillos, pulseras, colgantes, et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ñalizar adecuadamente las zonas de los equipos susceptibles de generar el riesgo de atrapamiento.</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4" name="Grupo 3">
            <a:extLst>
              <a:ext uri="{FF2B5EF4-FFF2-40B4-BE49-F238E27FC236}">
                <a16:creationId xmlns:a16="http://schemas.microsoft.com/office/drawing/2014/main" xmlns="" id="{A791C0B7-5F96-12F4-1000-04B27F2DA345}"/>
              </a:ext>
            </a:extLst>
          </p:cNvPr>
          <p:cNvGrpSpPr/>
          <p:nvPr/>
        </p:nvGrpSpPr>
        <p:grpSpPr>
          <a:xfrm>
            <a:off x="8142240" y="1819773"/>
            <a:ext cx="4049760" cy="4017501"/>
            <a:chOff x="8142240" y="2840499"/>
            <a:chExt cx="4049760" cy="4017501"/>
          </a:xfrm>
        </p:grpSpPr>
        <p:pic>
          <p:nvPicPr>
            <p:cNvPr id="4098" name="Picture 2" descr="Señalética de seguridad cuidado peligro atrapamiento - Signshop">
              <a:extLst>
                <a:ext uri="{FF2B5EF4-FFF2-40B4-BE49-F238E27FC236}">
                  <a16:creationId xmlns:a16="http://schemas.microsoft.com/office/drawing/2014/main" xmlns="" id="{791036D2-4313-F640-8474-D1168D28564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42240" y="4833120"/>
              <a:ext cx="4049760" cy="202488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Señalética de seguridad cuidado peligro atrapamiento - Signshop">
              <a:extLst>
                <a:ext uri="{FF2B5EF4-FFF2-40B4-BE49-F238E27FC236}">
                  <a16:creationId xmlns:a16="http://schemas.microsoft.com/office/drawing/2014/main" xmlns="" id="{8CFA7EA3-6F17-7C23-ACFC-8369B1816B9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42240" y="2840499"/>
              <a:ext cx="4049760" cy="2024880"/>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2"/>
    </p:custDataLst>
    <p:extLst>
      <p:ext uri="{BB962C8B-B14F-4D97-AF65-F5344CB8AC3E}">
        <p14:creationId xmlns:p14="http://schemas.microsoft.com/office/powerpoint/2010/main" val="118142991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63339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interior, edificio, tabla, cuarto&#10;&#10;Descripción generada automáticamente">
            <a:extLst>
              <a:ext uri="{FF2B5EF4-FFF2-40B4-BE49-F238E27FC236}">
                <a16:creationId xmlns:a16="http://schemas.microsoft.com/office/drawing/2014/main" xmlns="" id="{D7E9949E-072B-937E-7C23-8EBEA3BFD27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49760"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6"/>
            </a:pPr>
            <a:r>
              <a:rPr lang="es-CL" altLang="es-CL" b="1" dirty="0">
                <a:solidFill>
                  <a:srgbClr val="0FC044"/>
                </a:solidFill>
                <a:latin typeface="ACHS Nueva Sans Medium" pitchFamily="2" charset="0"/>
                <a:cs typeface="Arial" panose="020B0604020202020204" pitchFamily="34" charset="0"/>
              </a:rPr>
              <a:t>Atrapamient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trabajadores que conduzcan grúas horquillas deben estar autorizados y contarán con la información y formación necesaria, en este caso, deberán disponer de licencia clase D.</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grúas horquillas y los apiladores eléctricos deben disponer de los elementos de seguridad con el fin de evitar posibles atrapamientos en caso de que vuelquen, como cinturón de seguridad, placa donde se refleje la carga máxima a transportar, etc.</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51389657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04996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122" name="Picture 2" descr="Qué son los racks en logística y cómo elegir el mejor | SCM Logística  Barcelona">
            <a:extLst>
              <a:ext uri="{FF2B5EF4-FFF2-40B4-BE49-F238E27FC236}">
                <a16:creationId xmlns:a16="http://schemas.microsoft.com/office/drawing/2014/main" xmlns="" id="{1E258EEC-9FF0-30CB-9ED6-F058FAAEB2D6}"/>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1" y="0"/>
            <a:ext cx="4032344"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5355312"/>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6"/>
            </a:pPr>
            <a:r>
              <a:rPr lang="es-CL" altLang="es-CL" b="1" dirty="0">
                <a:solidFill>
                  <a:srgbClr val="0FC044"/>
                </a:solidFill>
                <a:latin typeface="ACHS Nueva Sans Medium" pitchFamily="2" charset="0"/>
                <a:cs typeface="Arial" panose="020B0604020202020204" pitchFamily="34" charset="0"/>
              </a:rPr>
              <a:t>Atrapamient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Delimitar y señalizar las zonas previstas para el almacenamiento de mercancías, mediante líneas de color amarillo en el pis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Informar y formar a los trabajadores encargados del almacenamiento de las pautas de trabajo seguro a seguir a la hora de almacenar mercancía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levar a cabo mantenimientos periódicos de los sistemas de almacenaje (estanterías, racks, et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Informar y formar a los trabajadores encargados del almacenamiento de las pautas de trabajo seguro a seguir a la hora de almacenar mercancía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levar a cabo mantenimientos periódicos de los sistemas de almacenaje (estanterías, racks, etc.)</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004145649"/>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22481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146" name="Picture 2" descr="Riesgo eléctrico en el trabajo: 3 formas de evitarlos">
            <a:extLst>
              <a:ext uri="{FF2B5EF4-FFF2-40B4-BE49-F238E27FC236}">
                <a16:creationId xmlns:a16="http://schemas.microsoft.com/office/drawing/2014/main" xmlns="" id="{16F75018-C5A9-CDD9-AF2D-596B5A63472B}"/>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0"/>
            <a:ext cx="4049760" cy="6854824"/>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308324"/>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7"/>
            </a:pPr>
            <a:r>
              <a:rPr lang="es-CL" altLang="es-CL" b="1" dirty="0">
                <a:solidFill>
                  <a:srgbClr val="0FC044"/>
                </a:solidFill>
                <a:latin typeface="ACHS Nueva Sans Medium" pitchFamily="2" charset="0"/>
                <a:cs typeface="Arial" panose="020B0604020202020204" pitchFamily="34" charset="0"/>
              </a:rPr>
              <a:t>Contactos eléctrico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xistencia de corriente eléctrica utilizada para el funcionamiento de los equipos de trabajo y la distinta maquinaria necesaria para el desarrollo de la actividad de la empresa. Al ser buenos conductores de la electricidad, la presencia de agua y humedad en las instalaciones constituyen un factor agravante de este riesgo.</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60902326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650C254-9E64-D24E-B8A4-8DEA80F8A13B}"/>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A5FF9129-A49F-0546-A2BE-FC241AB2663C}"/>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A8533FCD-4099-3940-A115-DCC8AC58304E}"/>
              </a:ext>
            </a:extLst>
          </p:cNvPr>
          <p:cNvSpPr/>
          <p:nvPr/>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a16="http://schemas.microsoft.com/office/drawing/2014/main" xmlns="" id="{0D0ACBD7-CA02-A349-A3CE-01BA17BA40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6" name="Título 30">
            <a:extLst>
              <a:ext uri="{FF2B5EF4-FFF2-40B4-BE49-F238E27FC236}">
                <a16:creationId xmlns:a16="http://schemas.microsoft.com/office/drawing/2014/main" xmlns="" id="{0EFAEB4C-E86E-104A-841D-1DD7FBF71FBF}"/>
              </a:ext>
            </a:extLst>
          </p:cNvPr>
          <p:cNvSpPr txBox="1">
            <a:spLocks/>
          </p:cNvSpPr>
          <p:nvPr/>
        </p:nvSpPr>
        <p:spPr>
          <a:xfrm>
            <a:off x="450000" y="496800"/>
            <a:ext cx="4710406" cy="4648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000" dirty="0">
                <a:solidFill>
                  <a:srgbClr val="15C047"/>
                </a:solidFill>
                <a:latin typeface="ACHS Nueva Serif" pitchFamily="2" charset="0"/>
                <a:cs typeface="Arial" panose="020B0604020202020204" pitchFamily="34" charset="0"/>
              </a:rPr>
              <a:t>Obejtivos</a:t>
            </a:r>
          </a:p>
        </p:txBody>
      </p:sp>
      <p:sp>
        <p:nvSpPr>
          <p:cNvPr id="7" name="21 Rectángulo">
            <a:extLst>
              <a:ext uri="{FF2B5EF4-FFF2-40B4-BE49-F238E27FC236}">
                <a16:creationId xmlns:a16="http://schemas.microsoft.com/office/drawing/2014/main" xmlns="" id="{F8EB17EC-6B60-2A4B-9318-C4FC23E57C1A}"/>
              </a:ext>
            </a:extLst>
          </p:cNvPr>
          <p:cNvSpPr/>
          <p:nvPr/>
        </p:nvSpPr>
        <p:spPr>
          <a:xfrm>
            <a:off x="6096000" y="2863207"/>
            <a:ext cx="3520677" cy="348539"/>
          </a:xfrm>
          <a:prstGeom prst="rect">
            <a:avLst/>
          </a:prstGeom>
        </p:spPr>
        <p:txBody>
          <a:bodyPr wrap="square" lIns="69696" tIns="36000" rIns="69696" bIns="3484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2BF45"/>
                </a:solidFill>
                <a:effectLst/>
                <a:uLnTx/>
                <a:uFillTx/>
                <a:latin typeface="ACHS Nueva Serif" pitchFamily="2" charset="0"/>
                <a:ea typeface="+mn-ea"/>
                <a:cs typeface="Arial" panose="020B0604020202020204" pitchFamily="34" charset="0"/>
                <a:sym typeface="Helvetica Neue"/>
              </a:rPr>
              <a:t>OBJETIVO</a:t>
            </a:r>
          </a:p>
        </p:txBody>
      </p:sp>
      <p:sp>
        <p:nvSpPr>
          <p:cNvPr id="8" name="21 Rectángulo">
            <a:extLst>
              <a:ext uri="{FF2B5EF4-FFF2-40B4-BE49-F238E27FC236}">
                <a16:creationId xmlns:a16="http://schemas.microsoft.com/office/drawing/2014/main" xmlns="" id="{446335A6-EAD4-0247-9833-6E25C18FE4CB}"/>
              </a:ext>
            </a:extLst>
          </p:cNvPr>
          <p:cNvSpPr/>
          <p:nvPr/>
        </p:nvSpPr>
        <p:spPr>
          <a:xfrm>
            <a:off x="6096000" y="3330657"/>
            <a:ext cx="4292599" cy="1077218"/>
          </a:xfrm>
          <a:prstGeom prst="rect">
            <a:avLst/>
          </a:prstGeom>
          <a:noFill/>
        </p:spPr>
        <p:txBody>
          <a:bodyPr wrap="square">
            <a:spAutoFit/>
          </a:bodyPr>
          <a:lstStyle/>
          <a:p>
            <a:r>
              <a:rPr lang="es-CL" sz="1600" dirty="0">
                <a:latin typeface="ACHS Nueva Serif" pitchFamily="2" charset="0"/>
                <a:cs typeface="Arial" panose="020B0604020202020204" pitchFamily="34" charset="0"/>
              </a:rPr>
              <a:t>Conocer las principales exposiciones presentes en cada una de las tareas efectuadas en las labores de packing y frigoríficos.</a:t>
            </a:r>
            <a:endParaRPr lang="es-ES" sz="1600" dirty="0">
              <a:latin typeface="ACHS Nueva Serif" pitchFamily="2" charset="0"/>
              <a:cs typeface="Arial" panose="020B0604020202020204" pitchFamily="34" charset="0"/>
              <a:sym typeface="Helvetica" charset="0"/>
            </a:endParaRPr>
          </a:p>
        </p:txBody>
      </p:sp>
      <p:cxnSp>
        <p:nvCxnSpPr>
          <p:cNvPr id="9" name="Conector recto 8">
            <a:extLst>
              <a:ext uri="{FF2B5EF4-FFF2-40B4-BE49-F238E27FC236}">
                <a16:creationId xmlns:a16="http://schemas.microsoft.com/office/drawing/2014/main" xmlns="" id="{57CBADFD-F210-5E4D-A9F5-D4C03472D893}"/>
              </a:ext>
            </a:extLst>
          </p:cNvPr>
          <p:cNvCxnSpPr>
            <a:cxnSpLocks/>
          </p:cNvCxnSpPr>
          <p:nvPr/>
        </p:nvCxnSpPr>
        <p:spPr>
          <a:xfrm>
            <a:off x="592875" y="377888"/>
            <a:ext cx="144613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0" name="Picture 38">
            <a:extLst>
              <a:ext uri="{FF2B5EF4-FFF2-40B4-BE49-F238E27FC236}">
                <a16:creationId xmlns:a16="http://schemas.microsoft.com/office/drawing/2014/main" xmlns="" id="{2EE38538-70C4-7B4C-BCB4-68D4BB70F636}"/>
              </a:ext>
            </a:extLst>
          </p:cNvPr>
          <p:cNvPicPr>
            <a:picLocks noChangeAspect="1"/>
          </p:cNvPicPr>
          <p:nvPr/>
        </p:nvPicPr>
        <p:blipFill>
          <a:blip r:embed="rId4"/>
          <a:stretch>
            <a:fillRect/>
          </a:stretch>
        </p:blipFill>
        <p:spPr>
          <a:xfrm flipH="1">
            <a:off x="-582722" y="1623225"/>
            <a:ext cx="5294851" cy="5455300"/>
          </a:xfrm>
          <a:prstGeom prst="rect">
            <a:avLst/>
          </a:prstGeom>
        </p:spPr>
      </p:pic>
    </p:spTree>
    <p:custDataLst>
      <p:tags r:id="rId1"/>
    </p:custDataLst>
    <p:extLst>
      <p:ext uri="{BB962C8B-B14F-4D97-AF65-F5344CB8AC3E}">
        <p14:creationId xmlns:p14="http://schemas.microsoft.com/office/powerpoint/2010/main" val="1483252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24119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Una ave dentro de una jaula&#10;&#10;Descripción generada automáticamente con confianza media">
            <a:extLst>
              <a:ext uri="{FF2B5EF4-FFF2-40B4-BE49-F238E27FC236}">
                <a16:creationId xmlns:a16="http://schemas.microsoft.com/office/drawing/2014/main" xmlns="" id="{BD7A5D5F-32EB-C02B-9D53-7190B64DA9F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39" y="-3865"/>
            <a:ext cx="4003991"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970318"/>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7"/>
            </a:pPr>
            <a:r>
              <a:rPr lang="es-CL" altLang="es-CL" b="1" dirty="0">
                <a:solidFill>
                  <a:srgbClr val="0FC044"/>
                </a:solidFill>
                <a:latin typeface="ACHS Nueva Sans Medium" pitchFamily="2" charset="0"/>
                <a:cs typeface="Arial" panose="020B0604020202020204" pitchFamily="34" charset="0"/>
              </a:rPr>
              <a:t>Contactos eléctric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oda instalación de consumo eléctrico debe estar autorizada por la Superintendencia de Electricidad y Combustible (SE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odo trabajo o mantención eléctrica deberá ser realizado por personal certificado por la SEC. </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conductores eléctricos deberán ser los adecuados a la potencia a utilizar y estarán protegidos adecuadamente en función de la actividad a desarrollar. </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odo tablero eléctrico se deberá mantener con su cubierta cerrada y exento de uniones eléctricas fuera de norma. </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831020269"/>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439311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8BE2193D-2662-AB23-F30A-8AD4065D1C8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8"/>
            </a:pPr>
            <a:r>
              <a:rPr lang="es-CL" altLang="es-CL" b="1" dirty="0">
                <a:solidFill>
                  <a:srgbClr val="0FC044"/>
                </a:solidFill>
                <a:latin typeface="ACHS Nueva Sans Medium" pitchFamily="2" charset="0"/>
                <a:cs typeface="Arial" panose="020B0604020202020204" pitchFamily="34" charset="0"/>
              </a:rPr>
              <a:t>Sobreesfuerzos por manejo manual de cargas-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FC044"/>
                </a:solidFill>
                <a:latin typeface="ACHS Nueva Sans Medium" pitchFamily="2" charset="0"/>
                <a:cs typeface="Arial" panose="020B0604020202020204" pitchFamily="34" charset="0"/>
              </a:rPr>
              <a:t>Manejo manual de cargas: </a:t>
            </a:r>
            <a:r>
              <a:rPr lang="es-CL" altLang="es-CL" dirty="0">
                <a:solidFill>
                  <a:srgbClr val="014B14"/>
                </a:solidFill>
                <a:latin typeface="ACHS Nueva Sans Medium" pitchFamily="2" charset="0"/>
                <a:cs typeface="Arial" panose="020B0604020202020204" pitchFamily="34" charset="0"/>
              </a:rPr>
              <a:t>Daños a los que se somete el trabajador por la manipulación de mercancías o cargas pesadas, pudiendo provocar lesiones músculo-esqueléticas tales como: dolores dorso-lumbares, hernias, et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FC044"/>
                </a:solidFill>
                <a:latin typeface="ACHS Nueva Sans Medium" pitchFamily="2" charset="0"/>
                <a:cs typeface="Arial" panose="020B0604020202020204" pitchFamily="34" charset="0"/>
              </a:rPr>
              <a:t>Posturas forzadas: </a:t>
            </a:r>
            <a:r>
              <a:rPr lang="es-CL" altLang="es-CL" dirty="0">
                <a:solidFill>
                  <a:srgbClr val="014B14"/>
                </a:solidFill>
                <a:latin typeface="ACHS Nueva Sans Medium" pitchFamily="2" charset="0"/>
                <a:cs typeface="Arial" panose="020B0604020202020204" pitchFamily="34" charset="0"/>
              </a:rPr>
              <a:t>Posiciones de trabajo que supongan que una o varias regiones anatómicas dejen de estar en una posición natural de confort para pasar a una posición forzada generando lesiones por sobrecarga.</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657771450"/>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06691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Un grupo de naranjas&#10;&#10;Descripción generada automáticamente">
            <a:extLst>
              <a:ext uri="{FF2B5EF4-FFF2-40B4-BE49-F238E27FC236}">
                <a16:creationId xmlns:a16="http://schemas.microsoft.com/office/drawing/2014/main" xmlns="" id="{C2B86E0F-9E9F-E2B2-A23A-5B513CC2FB0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3176"/>
            <a:ext cx="4049760"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8"/>
            </a:pPr>
            <a:r>
              <a:rPr lang="es-CL" altLang="es-CL" b="1" dirty="0">
                <a:solidFill>
                  <a:srgbClr val="0FC044"/>
                </a:solidFill>
                <a:latin typeface="ACHS Nueva Sans Medium" pitchFamily="2" charset="0"/>
                <a:cs typeface="Arial" panose="020B0604020202020204" pitchFamily="34" charset="0"/>
              </a:rPr>
              <a:t>Sobreesfuerzos por manejo manual de cargas-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levar a cabo un programa de rotación de tareas en los puestos de trabajo expuestos a este riesg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l levantamiento manual de cargas se deberá realizar siguiendo el método de levantamiento seguro de carg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organizar el entorno de trabajo de forma que se eviten planos de trabajo con desnivele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160954053"/>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60660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074" name="Picture 2" descr="Seguridad industrial en el sector de la alimentación - Tice: Innovate  Solutions">
            <a:extLst>
              <a:ext uri="{FF2B5EF4-FFF2-40B4-BE49-F238E27FC236}">
                <a16:creationId xmlns:a16="http://schemas.microsoft.com/office/drawing/2014/main" xmlns="" id="{A70B44A8-3F60-7739-666C-8788076EFC3E}"/>
              </a:ext>
            </a:extLst>
          </p:cNvPr>
          <p:cNvPicPr>
            <a:picLocks noChangeAspect="1" noChangeArrowheads="1"/>
          </p:cNvPicPr>
          <p:nvPr/>
        </p:nvPicPr>
        <p:blipFill rotWithShape="1">
          <a:blip r:embed="rId8" cstate="screen">
            <a:grayscl/>
            <a:extLst>
              <a:ext uri="{28A0092B-C50C-407E-A947-70E740481C1C}">
                <a14:useLocalDpi xmlns:a14="http://schemas.microsoft.com/office/drawing/2010/main"/>
              </a:ext>
            </a:extLst>
          </a:blip>
          <a:srcRect/>
          <a:stretch/>
        </p:blipFill>
        <p:spPr bwMode="auto">
          <a:xfrm>
            <a:off x="8142240" y="0"/>
            <a:ext cx="4032344"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031325"/>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9"/>
            </a:pPr>
            <a:r>
              <a:rPr lang="es-CL" altLang="es-CL" b="1">
                <a:solidFill>
                  <a:srgbClr val="0FC044"/>
                </a:solidFill>
                <a:latin typeface="ACHS Nueva Sans Medium" pitchFamily="2" charset="0"/>
                <a:cs typeface="Arial" panose="020B0604020202020204" pitchFamily="34" charset="0"/>
              </a:rPr>
              <a:t>Movimientos repetitivos - </a:t>
            </a:r>
            <a:r>
              <a:rPr lang="es-CL" altLang="es-CL" b="1" dirty="0">
                <a:solidFill>
                  <a:srgbClr val="0FC044"/>
                </a:solidFill>
                <a:latin typeface="ACHS Nueva Sans Medium" pitchFamily="2" charset="0"/>
                <a:cs typeface="Arial" panose="020B0604020202020204" pitchFamily="34" charset="0"/>
              </a:rPr>
              <a:t>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Grupo de movimientos continuos que implica al mismo conjunto osteomuscular provocando en el mismo: fatiga muscular, sobrecarga, dolor y por último lesión. Se presenta, principalmente, en las tareas de la línea de selección y en las tareas de embalaje tómbola y embalaje cinta.</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10399767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404113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170" name="Picture 2" descr="Diferencia gimnasia laboral pausas activas - Possitiva Terapias SAC">
            <a:extLst>
              <a:ext uri="{FF2B5EF4-FFF2-40B4-BE49-F238E27FC236}">
                <a16:creationId xmlns:a16="http://schemas.microsoft.com/office/drawing/2014/main" xmlns="" id="{4C6F2DD4-9ADB-D522-E1AC-C372C0EF285A}"/>
              </a:ext>
            </a:extLst>
          </p:cNvPr>
          <p:cNvPicPr>
            <a:picLocks noChangeAspect="1" noChangeArrowheads="1"/>
          </p:cNvPicPr>
          <p:nvPr/>
        </p:nvPicPr>
        <p:blipFill rotWithShape="1">
          <a:blip r:embed="rId8"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bwMode="auto">
          <a:xfrm>
            <a:off x="8142241" y="0"/>
            <a:ext cx="4032344"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862322"/>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9"/>
            </a:pPr>
            <a:r>
              <a:rPr lang="es-CL" altLang="es-CL" b="1" dirty="0">
                <a:solidFill>
                  <a:srgbClr val="0FC044"/>
                </a:solidFill>
                <a:latin typeface="ACHS Nueva Sans Medium" pitchFamily="2" charset="0"/>
                <a:cs typeface="Arial" panose="020B0604020202020204" pitchFamily="34" charset="0"/>
              </a:rPr>
              <a:t>Movimientos repetitiv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Alternar las tareas que permitan efectuar otras posturas. La alternancia de la posición de trabajo es una pausa compensatoria, que alivia la fatiga en los grupos músculo-articulares en uso sostenido. </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efectuar pausas activas de trabajo. Estos períodos, que significan sólo unos minutos, pueden ser utilizados para realizar un breve ejercicio físico compensatorio.</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19895663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82475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interior, edificio, cuarto, pequeño&#10;&#10;Descripción generada automáticamente">
            <a:extLst>
              <a:ext uri="{FF2B5EF4-FFF2-40B4-BE49-F238E27FC236}">
                <a16:creationId xmlns:a16="http://schemas.microsoft.com/office/drawing/2014/main" xmlns="" id="{9F31C8ED-3AC5-9891-A13B-B3C9C9132FD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416320"/>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10"/>
            </a:pPr>
            <a:r>
              <a:rPr lang="es-CL" altLang="es-CL" b="1" dirty="0">
                <a:solidFill>
                  <a:srgbClr val="0FC044"/>
                </a:solidFill>
                <a:latin typeface="ACHS Nueva Sans Medium" pitchFamily="2" charset="0"/>
                <a:cs typeface="Arial" panose="020B0604020202020204" pitchFamily="34" charset="0"/>
              </a:rPr>
              <a:t>Atropellos, golpes y choques con o contra vehículo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ránsito de camiones en las instalacione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resencia de grúas horquillas y apiladores en el centro de trabaj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Deficiente señalización en las vías de circulación.</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Operadores de grúas horquillas sin formación específic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Velocidad inadecuada de circulación de vehículo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208909269"/>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348535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Una puerta de vidrio&#10;&#10;Descripción generada automáticamente con confianza media">
            <a:extLst>
              <a:ext uri="{FF2B5EF4-FFF2-40B4-BE49-F238E27FC236}">
                <a16:creationId xmlns:a16="http://schemas.microsoft.com/office/drawing/2014/main" xmlns="" id="{66E72B45-9D75-2053-4AF0-51F0CC3BBAD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3176"/>
            <a:ext cx="4049760"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5078313"/>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10"/>
            </a:pPr>
            <a:r>
              <a:rPr lang="es-CL" altLang="es-CL" b="1" dirty="0">
                <a:solidFill>
                  <a:srgbClr val="0FC044"/>
                </a:solidFill>
                <a:latin typeface="ACHS Nueva Sans Medium" pitchFamily="2" charset="0"/>
                <a:cs typeface="Arial" panose="020B0604020202020204" pitchFamily="34" charset="0"/>
              </a:rPr>
              <a:t>Atropellos, golpes y choques con o contra vehículo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imitar la velocidad de circulación en las instalaciones de la empresa para todo tipo de vehícul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Delimitar las vías de circulación de vehículos habilitando a su vez pasos para peatone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Restringir el acceso a los muelles de carga y descarga de material a personal no autorizad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zonas de paso de grúas horquillas deben estar señalizadas adecuadamente, instalando espejos en las zonas de cruces. </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conducción de grúas horquillas estará reservada a los trabajadores designados que hayan recibido una formación específica y que posean licencia clase D.</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26099196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05465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194" name="Picture 2" descr="De la mano de China, el mayor frigorífico exportador argentino planea  aumentar 50% su producción - Infocampo">
            <a:extLst>
              <a:ext uri="{FF2B5EF4-FFF2-40B4-BE49-F238E27FC236}">
                <a16:creationId xmlns:a16="http://schemas.microsoft.com/office/drawing/2014/main" xmlns="" id="{9728FE0D-3038-A644-F110-FCE05F6FB6C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46206" r="20277"/>
          <a:stretch/>
        </p:blipFill>
        <p:spPr bwMode="auto">
          <a:xfrm>
            <a:off x="8142240" y="-506"/>
            <a:ext cx="4032344"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031325"/>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Exposición a bajas temperatura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xposición a bajas temperaturas, específicamente en las labores de almacenamiento de productos en cámaras frigoríficas para la conservación de los productos (de 0 a 8 grados Celsius) o en la utilización de túneles de congelado (por lo general trabajadas a -18° Celsiu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335027045"/>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91172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218" name="Picture 2" descr="Qué son y para qué sirven las cámaras de refrigeración">
            <a:extLst>
              <a:ext uri="{FF2B5EF4-FFF2-40B4-BE49-F238E27FC236}">
                <a16:creationId xmlns:a16="http://schemas.microsoft.com/office/drawing/2014/main" xmlns="" id="{9B1D1A0A-F43B-670F-3893-75A4B547DA13}"/>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39" y="-5637"/>
            <a:ext cx="4049761" cy="6861544"/>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970318"/>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Exposición a bajas temperatura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trabajadores expuestos al frio industrial deben recibir información y formación específica sobre los riesgos para la salud por exposición a estas temperaturas, como prevenirlos y los daños que se pueden producir.</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obre todo, deben tener conocimiento de que el frio puede perjudicar el comportamiento de las personas, provocando que subestimen los riesgos a los que están expuest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disponer de bebidas templadas dulces, con el fin de que compensen la perdida de agua y prevenir de este modo la deshidratación. </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826823492"/>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54508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42" name="Picture 2" descr="Almacenamiento en cámaras frigoríficas | TECNY STAND">
            <a:extLst>
              <a:ext uri="{FF2B5EF4-FFF2-40B4-BE49-F238E27FC236}">
                <a16:creationId xmlns:a16="http://schemas.microsoft.com/office/drawing/2014/main" xmlns="" id="{F0D42924-4EED-D544-E62F-FE04E9775FF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18807"/>
            <a:ext cx="4049760" cy="6876807"/>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Exposición a bajas temperatura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evitar el trabajo de los operarios de cámaras frigoríficas en forma aislada, de tal manera que siempre se encuentre cerca de algún compañero que pudiera advertir cualquier indicio de enfriamiento o de estrés térmic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Al final de cada turno, el supervisor o encargado de personal deberá efectuar una ronda de recuento del personal que trabaja en las cámaras frigoríficas, a fin de evitar que quede personal encerrado en las misma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01986082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72294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Imagen 6" descr="Imagen que contiene interior, pastel, cumpleaños, colorido&#10;&#10;Descripción generada automáticamente">
            <a:extLst>
              <a:ext uri="{FF2B5EF4-FFF2-40B4-BE49-F238E27FC236}">
                <a16:creationId xmlns:a16="http://schemas.microsoft.com/office/drawing/2014/main" xmlns="" id="{FF069134-B192-2B2B-7C8A-08E6173506A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38" y="0"/>
            <a:ext cx="4049761" cy="6868736"/>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1569660"/>
          </a:xfrm>
          <a:prstGeom prst="rect">
            <a:avLst/>
          </a:prstGeom>
          <a:noFill/>
        </p:spPr>
        <p:txBody>
          <a:bodyPr wrap="square" lIns="91440" tIns="45720" rIns="91440" bIns="45720" rtlCol="0" anchor="t">
            <a:spAutoFit/>
          </a:bodyPr>
          <a:lstStyle/>
          <a:p>
            <a:pPr algn="just">
              <a:spcBef>
                <a:spcPct val="0"/>
              </a:spcBef>
              <a:buClr>
                <a:srgbClr val="15BF45"/>
              </a:buClr>
            </a:pPr>
            <a:r>
              <a:rPr lang="es-CL" altLang="es-CL" sz="1600" dirty="0">
                <a:solidFill>
                  <a:srgbClr val="014B14"/>
                </a:solidFill>
                <a:latin typeface="ACHS Nueva Sans" pitchFamily="2" charset="0"/>
                <a:cs typeface="Arial" panose="020B0604020202020204" pitchFamily="34" charset="0"/>
              </a:rPr>
              <a:t>El término </a:t>
            </a:r>
            <a:r>
              <a:rPr lang="es-CL" altLang="es-CL" sz="1600" dirty="0">
                <a:solidFill>
                  <a:srgbClr val="0FC044"/>
                </a:solidFill>
                <a:latin typeface="ACHS Nueva Sans" pitchFamily="2" charset="0"/>
                <a:cs typeface="Arial" panose="020B0604020202020204" pitchFamily="34" charset="0"/>
              </a:rPr>
              <a:t>packing</a:t>
            </a:r>
            <a:r>
              <a:rPr lang="es-CL" altLang="es-CL" sz="1600" dirty="0">
                <a:solidFill>
                  <a:srgbClr val="014B14"/>
                </a:solidFill>
                <a:latin typeface="ACHS Nueva Sans" pitchFamily="2" charset="0"/>
                <a:cs typeface="Arial" panose="020B0604020202020204" pitchFamily="34" charset="0"/>
              </a:rPr>
              <a:t> abarca un conjunto de actividades industriales dirigidas al tratamiento, la transformación, la conservación y el envasado de productos alimenticios, especialmente hortofrutícolas. Por su parte, el término </a:t>
            </a:r>
            <a:r>
              <a:rPr lang="es-CL" altLang="es-CL" sz="1600" dirty="0">
                <a:solidFill>
                  <a:srgbClr val="0FC044"/>
                </a:solidFill>
                <a:latin typeface="ACHS Nueva Sans" pitchFamily="2" charset="0"/>
                <a:cs typeface="Arial" panose="020B0604020202020204" pitchFamily="34" charset="0"/>
              </a:rPr>
              <a:t>frigorífico</a:t>
            </a:r>
            <a:r>
              <a:rPr lang="es-CL" altLang="es-CL" sz="1600" dirty="0">
                <a:solidFill>
                  <a:srgbClr val="014B14"/>
                </a:solidFill>
                <a:latin typeface="ACHS Nueva Sans" pitchFamily="2" charset="0"/>
                <a:cs typeface="Arial" panose="020B0604020202020204" pitchFamily="34" charset="0"/>
              </a:rPr>
              <a:t> enmarca las actividades de almacenamiento y conservación de productos envasados bajo condiciones de temperatura especiale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Empresa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4" name="CuadroTexto 3"/>
          <p:cNvSpPr txBox="1"/>
          <p:nvPr/>
        </p:nvSpPr>
        <p:spPr>
          <a:xfrm>
            <a:off x="772227" y="4755663"/>
            <a:ext cx="7037197" cy="1569660"/>
          </a:xfrm>
          <a:prstGeom prst="rect">
            <a:avLst/>
          </a:prstGeom>
          <a:solidFill>
            <a:srgbClr val="014B14"/>
          </a:solidFill>
        </p:spPr>
        <p:txBody>
          <a:bodyPr wrap="square" rtlCol="0">
            <a:spAutoFit/>
          </a:bodyPr>
          <a:lstStyle/>
          <a:p>
            <a:pPr algn="just"/>
            <a:r>
              <a:rPr lang="es-CL" sz="1600" dirty="0">
                <a:solidFill>
                  <a:schemeClr val="bg1"/>
                </a:solidFill>
                <a:latin typeface="ACHS Nueva Sans" pitchFamily="2" charset="0"/>
              </a:rPr>
              <a:t>El almacenamiento de materias primas y productos terminados es sumamente importante en este tipo de industrias, la cual suele realizarse preferentemente en cámaras frigoríficas. El diseño de las instalaciones respectivas debe responder a las condiciones de manipulación y conservación (pasillos de tránsito, facilidad de acceso, temperatura y humedad adecuada al producto, etc.). </a:t>
            </a:r>
          </a:p>
        </p:txBody>
      </p:sp>
    </p:spTree>
    <p:custDataLst>
      <p:tags r:id="rId2"/>
    </p:custDataLst>
    <p:extLst>
      <p:ext uri="{BB962C8B-B14F-4D97-AF65-F5344CB8AC3E}">
        <p14:creationId xmlns:p14="http://schemas.microsoft.com/office/powerpoint/2010/main" val="4017552152"/>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84307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266" name="Picture 2" descr="ropa camaras frigoríficas laboral de trabajo trabajadores del frio  protectora proteccion laboral contra el frio en trabajo">
            <a:extLst>
              <a:ext uri="{FF2B5EF4-FFF2-40B4-BE49-F238E27FC236}">
                <a16:creationId xmlns:a16="http://schemas.microsoft.com/office/drawing/2014/main" xmlns="" id="{0400488B-FE77-24EE-B9DF-6DD58858536A}"/>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1"/>
            <a:ext cx="4032344" cy="6858001"/>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Exposición a bajas temperatura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l sistema de cierre de las puertas de las cámaras frigoríficas permitirá que estas puedan ser abiertas desde el interior de forma manual.</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proporcionar a los operarios ropa adecuada para el trabajo al interior de las cámaras frigoríficas, como elemento de protección personal, de acuerdo con las temperaturas mínimas que se presenten, conforme a las necesidades del proceso de conservación del producto.</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86303169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65980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290" name="Picture 2" descr="El amoniaco como refrigerante – Revista Cero Grados">
            <a:extLst>
              <a:ext uri="{FF2B5EF4-FFF2-40B4-BE49-F238E27FC236}">
                <a16:creationId xmlns:a16="http://schemas.microsoft.com/office/drawing/2014/main" xmlns="" id="{A2C04846-2825-D972-72C9-3DBF8E5B65B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6321"/>
            <a:ext cx="4032344" cy="6864321"/>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031325"/>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2"/>
            </a:pPr>
            <a:r>
              <a:rPr lang="es-CL" altLang="es-CL" b="1" dirty="0">
                <a:solidFill>
                  <a:srgbClr val="0FC044"/>
                </a:solidFill>
                <a:latin typeface="ACHS Nueva Sans Medium" pitchFamily="2" charset="0"/>
                <a:cs typeface="Arial" panose="020B0604020202020204" pitchFamily="34" charset="0"/>
              </a:rPr>
              <a:t>Exposición a gases refrigerantes-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Intoxicaciones (que puede llegar a ser fatal) por exposición a fugas de gases refrigerantes como el amoníaco anhidro, el cloruro de metilo, clorofluorocarbonos y otros hidrocarburos alifáticos halogenados utilizados en procesos de congelación y en cámaras frigorífica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53345361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71403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3314" name="Picture 2" descr="El amoníaco para refrigeración | Refrigerantes naturales | NH₃ | Danfoss">
            <a:extLst>
              <a:ext uri="{FF2B5EF4-FFF2-40B4-BE49-F238E27FC236}">
                <a16:creationId xmlns:a16="http://schemas.microsoft.com/office/drawing/2014/main" xmlns="" id="{1428A046-3BB2-CA18-8E17-34EF2A872495}"/>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1" y="0"/>
            <a:ext cx="4032344" cy="6882388"/>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5078313"/>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2"/>
            </a:pPr>
            <a:r>
              <a:rPr lang="es-CL" altLang="es-CL" b="1" dirty="0">
                <a:solidFill>
                  <a:srgbClr val="0FC044"/>
                </a:solidFill>
                <a:latin typeface="ACHS Nueva Sans Medium" pitchFamily="2" charset="0"/>
                <a:cs typeface="Arial" panose="020B0604020202020204" pitchFamily="34" charset="0"/>
              </a:rPr>
              <a:t>Exposición a gases refrigerante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salas de máquinas donde se encuentren los compresores y los depósitos de almacenamientos de fluidos refrigerantes deberán estar separados físicamente del resto de las dependencias de la empres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salas de máquinas y en el interior de las cámaras frigoríficas, deben estar dotadas de dispositivos que detecten y avisen de las fugas o escapes de dichos fluidos y provistos de un sistema de ventilación mecánica por aspiración que permita su rápida evacuación al exterior.</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mantención de los equipos de refrigeración debe ser efectuado solo por personal capacitado y autorizado para efectuar estas tareas. Si la empresa no posee personal capacitado, deberá recurrir a empresas externas que efectúen la mantención y reparación de estos equipo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14531341"/>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243469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4338" name="Picture 2" descr="Señalética Adhesiva 30x20 cm. No Pasar Solo Personal Autorizado">
            <a:extLst>
              <a:ext uri="{FF2B5EF4-FFF2-40B4-BE49-F238E27FC236}">
                <a16:creationId xmlns:a16="http://schemas.microsoft.com/office/drawing/2014/main" xmlns="" id="{BC5CA673-1BC7-76CE-A9E3-3888E202C4F6}"/>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42240" y="742950"/>
            <a:ext cx="4032344" cy="6115050"/>
          </a:xfrm>
          <a:prstGeom prst="rect">
            <a:avLst/>
          </a:prstGeom>
          <a:noFill/>
          <a:extLst>
            <a:ext uri="{909E8E84-426E-40DD-AFC4-6F175D3DCCD1}">
              <a14:hiddenFill xmlns:a14="http://schemas.microsoft.com/office/drawing/2010/main">
                <a:solidFill>
                  <a:srgbClr val="FFFFFF"/>
                </a:solidFill>
              </a14:hiddenFill>
            </a:ext>
          </a:extLst>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Exposición a gases refrigerantes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 debe prohibir, por parte de la empresa, la intervención de los tableros de control de las cámaras frigoríficas. La programación de esta deberá ser efectuada solo por los supervisores de la organización.</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empresa debe poseer en su plan de emergencia y evacuación los procedimientos operativos a seguir en caso de fuga de gas refrigerantes en salas de máquinas o al interior de cámaras refrigerante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gentes de higiene industrial pres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34295357"/>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a16="http://schemas.microsoft.com/office/drawing/2014/main" xmlns=""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a16="http://schemas.microsoft.com/office/drawing/2014/main" xmlns=""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a16="http://schemas.microsoft.com/office/drawing/2014/main" xmlns=""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a16="http://schemas.microsoft.com/office/drawing/2014/main" xmlns=""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a16="http://schemas.microsoft.com/office/drawing/2014/main" xmlns="" id="{421B21C9-A480-3A4D-B632-5E1DEC9CC6E2}"/>
              </a:ext>
            </a:extLst>
          </p:cNvPr>
          <p:cNvSpPr/>
          <p:nvPr/>
        </p:nvSpPr>
        <p:spPr>
          <a:xfrm>
            <a:off x="450000" y="496800"/>
            <a:ext cx="6219972"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abiert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a16="http://schemas.microsoft.com/office/drawing/2014/main" xmlns=""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a16="http://schemas.microsoft.com/office/drawing/2014/main" xmlns=""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a16="http://schemas.microsoft.com/office/drawing/2014/main" xmlns=""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a16="http://schemas.microsoft.com/office/drawing/2014/main" xmlns=""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5E5C4895-2CED-2047-8044-A293C57CAAAC}"/>
              </a:ext>
            </a:extLst>
          </p:cNvPr>
          <p:cNvSpPr txBox="1">
            <a:spLocks/>
          </p:cNvSpPr>
          <p:nvPr/>
        </p:nvSpPr>
        <p:spPr>
          <a:xfrm>
            <a:off x="5851683" y="3298099"/>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rxm3zy35</a:t>
            </a:r>
          </a:p>
        </p:txBody>
      </p:sp>
      <p:pic>
        <p:nvPicPr>
          <p:cNvPr id="18" name="Imagen 17">
            <a:extLst>
              <a:ext uri="{FF2B5EF4-FFF2-40B4-BE49-F238E27FC236}">
                <a16:creationId xmlns:a16="http://schemas.microsoft.com/office/drawing/2014/main" xmlns="" id="{C556FFD4-F074-0244-9BA7-0EF716399C5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073" t="15461" r="17816" b="32407"/>
          <a:stretch/>
        </p:blipFill>
        <p:spPr>
          <a:xfrm>
            <a:off x="1608167" y="2709137"/>
            <a:ext cx="1692424" cy="1701800"/>
          </a:xfrm>
          <a:prstGeom prst="rect">
            <a:avLst/>
          </a:prstGeom>
        </p:spPr>
      </p:pic>
    </p:spTree>
    <p:custDataLst>
      <p:tags r:id="rId1"/>
    </p:custDataLst>
    <p:extLst>
      <p:ext uri="{BB962C8B-B14F-4D97-AF65-F5344CB8AC3E}">
        <p14:creationId xmlns:p14="http://schemas.microsoft.com/office/powerpoint/2010/main" val="3858523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a16="http://schemas.microsoft.com/office/drawing/2014/main" xmlns=""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a16="http://schemas.microsoft.com/office/drawing/2014/main" xmlns=""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a16="http://schemas.microsoft.com/office/drawing/2014/main" xmlns=""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a16="http://schemas.microsoft.com/office/drawing/2014/main" xmlns=""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a16="http://schemas.microsoft.com/office/drawing/2014/main" xmlns="" id="{421B21C9-A480-3A4D-B632-5E1DEC9CC6E2}"/>
              </a:ext>
            </a:extLst>
          </p:cNvPr>
          <p:cNvSpPr/>
          <p:nvPr/>
        </p:nvSpPr>
        <p:spPr>
          <a:xfrm>
            <a:off x="450000" y="496800"/>
            <a:ext cx="6271269"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cerrad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a16="http://schemas.microsoft.com/office/drawing/2014/main" xmlns=""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a16="http://schemas.microsoft.com/office/drawing/2014/main" xmlns=""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a16="http://schemas.microsoft.com/office/drawing/2014/main" xmlns=""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a16="http://schemas.microsoft.com/office/drawing/2014/main" xmlns=""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9" name="Marcador de texto 11">
            <a:extLst>
              <a:ext uri="{FF2B5EF4-FFF2-40B4-BE49-F238E27FC236}">
                <a16:creationId xmlns:a16="http://schemas.microsoft.com/office/drawing/2014/main" xmlns="" id="{BE52C15F-15BC-A949-B856-28C75538B38E}"/>
              </a:ext>
            </a:extLst>
          </p:cNvPr>
          <p:cNvSpPr txBox="1">
            <a:spLocks/>
          </p:cNvSpPr>
          <p:nvPr/>
        </p:nvSpPr>
        <p:spPr>
          <a:xfrm>
            <a:off x="5851683" y="316706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wtus2r43</a:t>
            </a:r>
          </a:p>
        </p:txBody>
      </p:sp>
      <p:pic>
        <p:nvPicPr>
          <p:cNvPr id="20" name="Imagen 19">
            <a:extLst>
              <a:ext uri="{FF2B5EF4-FFF2-40B4-BE49-F238E27FC236}">
                <a16:creationId xmlns:a16="http://schemas.microsoft.com/office/drawing/2014/main" xmlns="" id="{D2607097-8E87-0F4D-AFAF-A118E4A8996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332" t="15879" r="15961" b="32276"/>
          <a:stretch/>
        </p:blipFill>
        <p:spPr>
          <a:xfrm>
            <a:off x="1614519" y="2707416"/>
            <a:ext cx="1705240" cy="1705241"/>
          </a:xfrm>
          <a:prstGeom prst="rect">
            <a:avLst/>
          </a:prstGeom>
        </p:spPr>
      </p:pic>
    </p:spTree>
    <p:custDataLst>
      <p:tags r:id="rId1"/>
    </p:custDataLst>
    <p:extLst>
      <p:ext uri="{BB962C8B-B14F-4D97-AF65-F5344CB8AC3E}">
        <p14:creationId xmlns:p14="http://schemas.microsoft.com/office/powerpoint/2010/main" val="1458797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6575F4B-2741-FE44-822B-CB13912A8A4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12CFB199-A456-F648-BABD-FC268EB54FED}"/>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07D87C4F-C817-8845-8295-061932D3C91C}"/>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a16="http://schemas.microsoft.com/office/drawing/2014/main" xmlns="" id="{C5D4D972-9650-BE40-BE96-77D3505691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a16="http://schemas.microsoft.com/office/drawing/2014/main" xmlns="" id="{1F5E7671-670C-A046-965E-79867D9A7F15}"/>
              </a:ext>
            </a:extLst>
          </p:cNvPr>
          <p:cNvSpPr txBox="1"/>
          <p:nvPr/>
        </p:nvSpPr>
        <p:spPr>
          <a:xfrm>
            <a:off x="5073650" y="4102100"/>
            <a:ext cx="2044700" cy="369332"/>
          </a:xfrm>
          <a:prstGeom prst="rect">
            <a:avLst/>
          </a:prstGeom>
          <a:noFill/>
        </p:spPr>
        <p:txBody>
          <a:bodyPr wrap="square" rtlCol="0">
            <a:spAutoFit/>
          </a:bodyPr>
          <a:lstStyle/>
          <a:p>
            <a:r>
              <a:rPr lang="es-CL" dirty="0">
                <a:solidFill>
                  <a:schemeClr val="bg1"/>
                </a:solidFill>
                <a:latin typeface="ACHS Nueva Serif"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916384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22818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EC419176-E53B-9102-930A-92F2A04C4E3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4801314"/>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Caídas a distinto nivel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resencia de escaleras fijas para el acceso a puestos cuyo plano de trabajo se encuentre elevad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xistencia de desniveles en los muelles de descarg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areas de inspección de camiones que trasladan las materias prima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Resbalones producidos por la existencia de restos de materias primas en el suel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Resbalones por la humedad condensada en el suel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Tropiezos con objetos ubicadas en zonas de paso como los pasillos, zonas de acceso, etc.</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544331097"/>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6358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Imagen 7" descr="Imagen en blanco y negro&#10;&#10;Descripción generada automáticamente con confianza baja">
            <a:extLst>
              <a:ext uri="{FF2B5EF4-FFF2-40B4-BE49-F238E27FC236}">
                <a16:creationId xmlns:a16="http://schemas.microsoft.com/office/drawing/2014/main" xmlns="" id="{014EA13B-0F60-E705-83C0-6A21A694131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49760"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4247317"/>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Caídas a distinto nivel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FC044"/>
                </a:solidFill>
                <a:latin typeface="ACHS Nueva Sans Medium" pitchFamily="2" charset="0"/>
                <a:cs typeface="Arial" panose="020B0604020202020204" pitchFamily="34" charset="0"/>
              </a:rPr>
              <a:t>Desniveles y plataformas: </a:t>
            </a:r>
            <a:r>
              <a:rPr lang="es-CL" altLang="es-CL" dirty="0">
                <a:solidFill>
                  <a:srgbClr val="014B14"/>
                </a:solidFill>
                <a:latin typeface="ACHS Nueva Sans Medium" pitchFamily="2" charset="0"/>
                <a:cs typeface="Arial" panose="020B0604020202020204" pitchFamily="34" charset="0"/>
              </a:rPr>
              <a:t>Todas aquellas superficies de trabajo que presenten desnivel, superior a un metro del suelo adyacente,  deben estar provistas de barandillas o de otros sistemas de protección equivalentes </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FC044"/>
                </a:solidFill>
                <a:latin typeface="ACHS Nueva Sans Medium" pitchFamily="2" charset="0"/>
                <a:cs typeface="Arial" panose="020B0604020202020204" pitchFamily="34" charset="0"/>
              </a:rPr>
              <a:t>Escaleras fijas: </a:t>
            </a:r>
            <a:r>
              <a:rPr lang="es-CL" altLang="es-CL" dirty="0">
                <a:solidFill>
                  <a:srgbClr val="014B14"/>
                </a:solidFill>
                <a:latin typeface="ACHS Nueva Sans Medium" pitchFamily="2" charset="0"/>
                <a:cs typeface="Arial" panose="020B0604020202020204" pitchFamily="34" charset="0"/>
              </a:rPr>
              <a:t>Las escaleras fijas deberán cumplir las características mininas de seguridad, en función de minimizar los riesgo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FC044"/>
                </a:solidFill>
                <a:latin typeface="ACHS Nueva Sans Medium" pitchFamily="2" charset="0"/>
                <a:cs typeface="Arial" panose="020B0604020202020204" pitchFamily="34" charset="0"/>
              </a:rPr>
              <a:t>Iluminación:</a:t>
            </a:r>
            <a:r>
              <a:rPr lang="es-CL" altLang="es-CL" dirty="0">
                <a:solidFill>
                  <a:srgbClr val="014B14"/>
                </a:solidFill>
                <a:latin typeface="ACHS Nueva Sans Medium" pitchFamily="2" charset="0"/>
                <a:cs typeface="Arial" panose="020B0604020202020204" pitchFamily="34" charset="0"/>
              </a:rPr>
              <a:t> Realizar mantenimiento adecuado de los sistemas de iluminación para disminuir el riesgo de caídas. Según las indicaciones aparecidas en el Decreto Supremo </a:t>
            </a:r>
            <a:r>
              <a:rPr lang="es-CL" altLang="es-CL" dirty="0" err="1">
                <a:solidFill>
                  <a:srgbClr val="014B14"/>
                </a:solidFill>
                <a:latin typeface="ACHS Nueva Sans Medium" pitchFamily="2" charset="0"/>
                <a:cs typeface="Arial" panose="020B0604020202020204" pitchFamily="34" charset="0"/>
              </a:rPr>
              <a:t>N°</a:t>
            </a:r>
            <a:r>
              <a:rPr lang="es-CL" altLang="es-CL" dirty="0">
                <a:solidFill>
                  <a:srgbClr val="014B14"/>
                </a:solidFill>
                <a:latin typeface="ACHS Nueva Sans Medium" pitchFamily="2" charset="0"/>
                <a:cs typeface="Arial" panose="020B0604020202020204" pitchFamily="34" charset="0"/>
              </a:rPr>
              <a:t> 594,  ésta no debe ser inferior a 150 lux.</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00224735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54185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Imagen 6" descr="Imagen en blanco y negro&#10;&#10;Descripción generada automáticamente con confianza baja">
            <a:extLst>
              <a:ext uri="{FF2B5EF4-FFF2-40B4-BE49-F238E27FC236}">
                <a16:creationId xmlns:a16="http://schemas.microsoft.com/office/drawing/2014/main" xmlns="" id="{0AB48D45-99BE-7E8C-3F2E-D7A8976AB47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49760"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a:pPr>
            <a:r>
              <a:rPr lang="es-CL" altLang="es-CL" b="1" dirty="0">
                <a:solidFill>
                  <a:srgbClr val="0FC044"/>
                </a:solidFill>
                <a:latin typeface="ACHS Nueva Sans Medium" pitchFamily="2" charset="0"/>
                <a:cs typeface="Arial" panose="020B0604020202020204" pitchFamily="34" charset="0"/>
              </a:rPr>
              <a:t>Caídas a distinto nivel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s superficies de trabajo deberán estar constituidas por materiales antideslizante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levar a cabo un programa de mantenimiento de orden y limpieza en todas las instalaciones en forma diaria.</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vitar, en la medida de lo posible, la acumulación de agua en el suelo, secándola lo antes posible.</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Señalizar las zonas susceptibles de generar riesgo de caídas al mismo nivel.</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237173219"/>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132395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Imagen 7" descr="Imagen que contiene cuarto, pequeño, cama, naranja&#10;&#10;Descripción generada automáticamente">
            <a:extLst>
              <a:ext uri="{FF2B5EF4-FFF2-40B4-BE49-F238E27FC236}">
                <a16:creationId xmlns:a16="http://schemas.microsoft.com/office/drawing/2014/main" xmlns="" id="{8A5FFCAE-7942-FD56-1B8A-34967F9FCD5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1754326"/>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2"/>
            </a:pPr>
            <a:r>
              <a:rPr lang="es-CL" altLang="es-CL" b="1" dirty="0">
                <a:solidFill>
                  <a:srgbClr val="0FC044"/>
                </a:solidFill>
                <a:latin typeface="ACHS Nueva Sans Medium" pitchFamily="2" charset="0"/>
                <a:cs typeface="Arial" panose="020B0604020202020204" pitchFamily="34" charset="0"/>
              </a:rPr>
              <a:t>Caídas de objetos por manipulación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Posibilidad de caída de envases o productos (cajas, herramientas, et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Incorrecta manipulación manual de materias prima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060313290"/>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035579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Persona con sombrero&#10;&#10;Descripción generada automáticamente con confianza baja">
            <a:extLst>
              <a:ext uri="{FF2B5EF4-FFF2-40B4-BE49-F238E27FC236}">
                <a16:creationId xmlns:a16="http://schemas.microsoft.com/office/drawing/2014/main" xmlns="" id="{74501538-E00D-866F-0738-890BC85A4A9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40" y="0"/>
            <a:ext cx="4032344"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2"/>
            </a:pPr>
            <a:r>
              <a:rPr lang="es-CL" altLang="es-CL" b="1" dirty="0">
                <a:solidFill>
                  <a:srgbClr val="0FC044"/>
                </a:solidFill>
                <a:latin typeface="ACHS Nueva Sans Medium" pitchFamily="2" charset="0"/>
                <a:cs typeface="Arial" panose="020B0604020202020204" pitchFamily="34" charset="0"/>
              </a:rPr>
              <a:t>Caídas de objetos por manipulación – medidas preventivas</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empresa debe proporcionar a los trabajadores información y formación adecuada sobre el transporte de mercaderías y manejo de herramientas, así como los medios mecánicos adecuados para ello (transpaletas, carretillas, cintas transportadoras, etc.)</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os trabajadores deben tener a su disposición guantes que mejoren el agarre para aquellas tareas que precisen manipular manualmente las cargas.</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7669840"/>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41914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Imagen 3" descr="Imagen que contiene persona, edificio, parado, hombre&#10;&#10;Descripción generada automáticamente">
            <a:extLst>
              <a:ext uri="{FF2B5EF4-FFF2-40B4-BE49-F238E27FC236}">
                <a16:creationId xmlns:a16="http://schemas.microsoft.com/office/drawing/2014/main" xmlns="" id="{CEB443B1-B660-F629-F3CC-51A54145A80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42239" y="-9373"/>
            <a:ext cx="4032345" cy="6858000"/>
          </a:xfrm>
          <a:prstGeom prst="rect">
            <a:avLst/>
          </a:prstGeom>
        </p:spPr>
      </p:pic>
      <p:sp>
        <p:nvSpPr>
          <p:cNvPr id="36" name="CuadroTexto 35">
            <a:extLst>
              <a:ext uri="{FF2B5EF4-FFF2-40B4-BE49-F238E27FC236}">
                <a16:creationId xmlns:a16="http://schemas.microsoft.com/office/drawing/2014/main" xmlns="" id="{F9506A3C-ED6C-864E-946A-28D52CFBE7C1}"/>
              </a:ext>
            </a:extLst>
          </p:cNvPr>
          <p:cNvSpPr txBox="1"/>
          <p:nvPr/>
        </p:nvSpPr>
        <p:spPr>
          <a:xfrm>
            <a:off x="692296" y="1439976"/>
            <a:ext cx="7197061" cy="2585323"/>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rabicPeriod" startAt="3"/>
            </a:pPr>
            <a:r>
              <a:rPr lang="es-CL" altLang="es-CL" b="1" dirty="0">
                <a:solidFill>
                  <a:srgbClr val="0FC044"/>
                </a:solidFill>
                <a:latin typeface="ACHS Nueva Sans Medium" pitchFamily="2" charset="0"/>
                <a:cs typeface="Arial" panose="020B0604020202020204" pitchFamily="34" charset="0"/>
              </a:rPr>
              <a:t>Golpe contra objetos inmóviles - origen</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La existencia de numerosos equipos de trabajo y maquinaria en instalaciones de dimensiones insuficientes.</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Accesos de pequeñas dimensiones a los puestos de trabajo.</a:t>
            </a:r>
          </a:p>
          <a:p>
            <a:pPr marL="285750" indent="-285750" algn="just">
              <a:spcBef>
                <a:spcPct val="0"/>
              </a:spcBef>
              <a:buClr>
                <a:srgbClr val="15BF45"/>
              </a:buClr>
              <a:buFont typeface="Arial" panose="020B0604020202020204" pitchFamily="34" charset="0"/>
              <a:buChar char="•"/>
            </a:pPr>
            <a:endParaRPr lang="es-CL"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dirty="0">
                <a:solidFill>
                  <a:srgbClr val="014B14"/>
                </a:solidFill>
                <a:latin typeface="ACHS Nueva Sans Medium" pitchFamily="2" charset="0"/>
                <a:cs typeface="Arial" panose="020B0604020202020204" pitchFamily="34" charset="0"/>
              </a:rPr>
              <a:t>Existencia de almacenamiento en zonas inadecuadas, sin señalización delimitadora.</a:t>
            </a:r>
          </a:p>
        </p:txBody>
      </p:sp>
      <p:sp>
        <p:nvSpPr>
          <p:cNvPr id="17" name="Título 30">
            <a:extLst>
              <a:ext uri="{FF2B5EF4-FFF2-40B4-BE49-F238E27FC236}">
                <a16:creationId xmlns:a16="http://schemas.microsoft.com/office/drawing/2014/main" xmlns=""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Accidentes más recurrentes en las actividades de packing y frigoríficos</a:t>
            </a:r>
          </a:p>
        </p:txBody>
      </p:sp>
      <p:pic>
        <p:nvPicPr>
          <p:cNvPr id="3" name="Picture 40">
            <a:extLst>
              <a:ext uri="{FF2B5EF4-FFF2-40B4-BE49-F238E27FC236}">
                <a16:creationId xmlns:a16="http://schemas.microsoft.com/office/drawing/2014/main" xmlns=""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439049398"/>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6"/>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738E1D-D069-448B-8C63-5E401FF285BC}"/>
</file>

<file path=customXml/itemProps2.xml><?xml version="1.0" encoding="utf-8"?>
<ds:datastoreItem xmlns:ds="http://schemas.openxmlformats.org/officeDocument/2006/customXml" ds:itemID="{0DBE78E2-E8C0-44A7-A0E9-552E7F6DD249}"/>
</file>

<file path=customXml/itemProps3.xml><?xml version="1.0" encoding="utf-8"?>
<ds:datastoreItem xmlns:ds="http://schemas.openxmlformats.org/officeDocument/2006/customXml" ds:itemID="{95DE935B-6DC6-4530-9D4D-92EA60B73963}"/>
</file>

<file path=docProps/app.xml><?xml version="1.0" encoding="utf-8"?>
<Properties xmlns="http://schemas.openxmlformats.org/officeDocument/2006/extended-properties" xmlns:vt="http://schemas.openxmlformats.org/officeDocument/2006/docPropsVTypes">
  <TotalTime>980</TotalTime>
  <Words>2856</Words>
  <Application>Microsoft Office PowerPoint</Application>
  <PresentationFormat>Panorámica</PresentationFormat>
  <Paragraphs>281</Paragraphs>
  <Slides>36</Slides>
  <Notes>31</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36</vt:i4>
      </vt:variant>
    </vt:vector>
  </HeadingPairs>
  <TitlesOfParts>
    <vt:vector size="47" baseType="lpstr">
      <vt:lpstr>ACHS Nueva Sans</vt:lpstr>
      <vt:lpstr>ACHS Nueva Sans Medium</vt:lpstr>
      <vt:lpstr>ACHS Nueva Serif</vt:lpstr>
      <vt:lpstr>ACHS Nueva Serif SemiBold</vt:lpstr>
      <vt:lpstr>Aptos</vt:lpstr>
      <vt:lpstr>Arial</vt:lpstr>
      <vt:lpstr>Calibri</vt:lpstr>
      <vt:lpstr>Helvetica</vt:lpstr>
      <vt:lpstr>Helvetica Neue</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EDDIE</cp:lastModifiedBy>
  <cp:revision>183</cp:revision>
  <dcterms:created xsi:type="dcterms:W3CDTF">2023-08-03T14:13:33Z</dcterms:created>
  <dcterms:modified xsi:type="dcterms:W3CDTF">2024-06-17T21:3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6A003D9-DD7C-4FE9-B3B7-4F5A5AC71700</vt:lpwstr>
  </property>
  <property fmtid="{D5CDD505-2E9C-101B-9397-08002B2CF9AE}" pid="3" name="ArticulatePath">
    <vt:lpwstr>657672_Uso_de_ExtintoresRB2023</vt:lpwstr>
  </property>
  <property fmtid="{D5CDD505-2E9C-101B-9397-08002B2CF9AE}" pid="4" name="ContentTypeId">
    <vt:lpwstr>0x0101007C36543F3D857D488921B9E8F0F0A212</vt:lpwstr>
  </property>
  <property fmtid="{D5CDD505-2E9C-101B-9397-08002B2CF9AE}" pid="5" name="Order">
    <vt:r8>518200</vt:r8>
  </property>
</Properties>
</file>